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3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4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5.xml" ContentType="application/vnd.openxmlformats-officedocument.theme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6.xml" ContentType="application/vnd.openxmlformats-officedocument.theme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1" r:id="rId5"/>
    <p:sldMasterId id="2147483698" r:id="rId6"/>
    <p:sldMasterId id="2147483727" r:id="rId7"/>
    <p:sldMasterId id="2147483755" r:id="rId8"/>
    <p:sldMasterId id="2147483799" r:id="rId9"/>
    <p:sldMasterId id="2147483822" r:id="rId10"/>
  </p:sldMasterIdLst>
  <p:notesMasterIdLst>
    <p:notesMasterId r:id="rId31"/>
  </p:notesMasterIdLst>
  <p:sldIdLst>
    <p:sldId id="10835" r:id="rId11"/>
    <p:sldId id="1806" r:id="rId12"/>
    <p:sldId id="3450" r:id="rId13"/>
    <p:sldId id="8544" r:id="rId14"/>
    <p:sldId id="10748" r:id="rId15"/>
    <p:sldId id="1826" r:id="rId16"/>
    <p:sldId id="8589" r:id="rId17"/>
    <p:sldId id="8524" r:id="rId18"/>
    <p:sldId id="8556" r:id="rId19"/>
    <p:sldId id="10092" r:id="rId20"/>
    <p:sldId id="3537" r:id="rId21"/>
    <p:sldId id="3539" r:id="rId22"/>
    <p:sldId id="8612" r:id="rId23"/>
    <p:sldId id="10895" r:id="rId24"/>
    <p:sldId id="3449" r:id="rId25"/>
    <p:sldId id="3617" r:id="rId26"/>
    <p:sldId id="8557" r:id="rId27"/>
    <p:sldId id="10080" r:id="rId28"/>
    <p:sldId id="8638" r:id="rId29"/>
    <p:sldId id="10896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rdan Edwards" initials="JE" lastIdx="11" clrIdx="0">
    <p:extLst>
      <p:ext uri="{19B8F6BF-5375-455C-9EA6-DF929625EA0E}">
        <p15:presenceInfo xmlns:p15="http://schemas.microsoft.com/office/powerpoint/2012/main" userId="S::Jordane@microsoft.com::db00fe51-9c5b-4146-8fae-ef23d1d9f991" providerId="AD"/>
      </p:ext>
    </p:extLst>
  </p:cmAuthor>
  <p:cmAuthor id="2" name="Praneet Singh Solanki" initials="PSS" lastIdx="6" clrIdx="1">
    <p:extLst>
      <p:ext uri="{19B8F6BF-5375-455C-9EA6-DF929625EA0E}">
        <p15:presenceInfo xmlns:p15="http://schemas.microsoft.com/office/powerpoint/2012/main" userId="S::prsol@microsoft.com::019d485c-1675-4ea4-b8a1-a6792b58622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0808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4D90D6-324F-4CD5-949C-43B9653D1AEA}" v="35" dt="2019-10-29T14:42:45.52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4738" autoAdjust="0"/>
  </p:normalViewPr>
  <p:slideViewPr>
    <p:cSldViewPr snapToGrid="0">
      <p:cViewPr varScale="1">
        <p:scale>
          <a:sx n="49" d="100"/>
          <a:sy n="49" d="100"/>
        </p:scale>
        <p:origin x="1312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21" Type="http://schemas.openxmlformats.org/officeDocument/2006/relationships/slide" Target="slides/slide11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son Virtue" userId="263f7aa9-7553-4936-a78f-e2e88b93696c" providerId="ADAL" clId="{4A4D90D6-324F-4CD5-949C-43B9653D1AEA}"/>
    <pc:docChg chg="undo custSel addSld delSld modSld sldOrd">
      <pc:chgData name="Jason Virtue" userId="263f7aa9-7553-4936-a78f-e2e88b93696c" providerId="ADAL" clId="{4A4D90D6-324F-4CD5-949C-43B9653D1AEA}" dt="2019-10-29T14:44:48.928" v="444" actId="554"/>
      <pc:docMkLst>
        <pc:docMk/>
      </pc:docMkLst>
      <pc:sldChg chg="modNotesTx">
        <pc:chgData name="Jason Virtue" userId="263f7aa9-7553-4936-a78f-e2e88b93696c" providerId="ADAL" clId="{4A4D90D6-324F-4CD5-949C-43B9653D1AEA}" dt="2019-10-25T15:57:32.799" v="39" actId="6549"/>
        <pc:sldMkLst>
          <pc:docMk/>
          <pc:sldMk cId="2992060796" sldId="1806"/>
        </pc:sldMkLst>
      </pc:sldChg>
      <pc:sldChg chg="del mod modShow">
        <pc:chgData name="Jason Virtue" userId="263f7aa9-7553-4936-a78f-e2e88b93696c" providerId="ADAL" clId="{4A4D90D6-324F-4CD5-949C-43B9653D1AEA}" dt="2019-10-24T12:17:39.005" v="24" actId="47"/>
        <pc:sldMkLst>
          <pc:docMk/>
          <pc:sldMk cId="3535486780" sldId="3584"/>
        </pc:sldMkLst>
      </pc:sldChg>
      <pc:sldChg chg="modNotesTx">
        <pc:chgData name="Jason Virtue" userId="263f7aa9-7553-4936-a78f-e2e88b93696c" providerId="ADAL" clId="{4A4D90D6-324F-4CD5-949C-43B9653D1AEA}" dt="2019-10-25T15:58:34.767" v="43" actId="20577"/>
        <pc:sldMkLst>
          <pc:docMk/>
          <pc:sldMk cId="2238522511" sldId="3617"/>
        </pc:sldMkLst>
      </pc:sldChg>
      <pc:sldChg chg="del mod modShow">
        <pc:chgData name="Jason Virtue" userId="263f7aa9-7553-4936-a78f-e2e88b93696c" providerId="ADAL" clId="{4A4D90D6-324F-4CD5-949C-43B9653D1AEA}" dt="2019-10-24T12:18:45.238" v="28" actId="47"/>
        <pc:sldMkLst>
          <pc:docMk/>
          <pc:sldMk cId="1331259702" sldId="3748"/>
        </pc:sldMkLst>
      </pc:sldChg>
      <pc:sldChg chg="add del">
        <pc:chgData name="Jason Virtue" userId="263f7aa9-7553-4936-a78f-e2e88b93696c" providerId="ADAL" clId="{4A4D90D6-324F-4CD5-949C-43B9653D1AEA}" dt="2019-10-24T12:16:38.014" v="19" actId="47"/>
        <pc:sldMkLst>
          <pc:docMk/>
          <pc:sldMk cId="2519387664" sldId="3873"/>
        </pc:sldMkLst>
      </pc:sldChg>
      <pc:sldChg chg="del mod modShow">
        <pc:chgData name="Jason Virtue" userId="263f7aa9-7553-4936-a78f-e2e88b93696c" providerId="ADAL" clId="{4A4D90D6-324F-4CD5-949C-43B9653D1AEA}" dt="2019-10-24T12:18:39.247" v="27" actId="47"/>
        <pc:sldMkLst>
          <pc:docMk/>
          <pc:sldMk cId="2547006632" sldId="8521"/>
        </pc:sldMkLst>
      </pc:sldChg>
      <pc:sldChg chg="add modNotesTx">
        <pc:chgData name="Jason Virtue" userId="263f7aa9-7553-4936-a78f-e2e88b93696c" providerId="ADAL" clId="{4A4D90D6-324F-4CD5-949C-43B9653D1AEA}" dt="2019-10-25T15:58:12.253" v="40" actId="20577"/>
        <pc:sldMkLst>
          <pc:docMk/>
          <pc:sldMk cId="242622741" sldId="8556"/>
        </pc:sldMkLst>
      </pc:sldChg>
      <pc:sldChg chg="add mod ord modShow">
        <pc:chgData name="Jason Virtue" userId="263f7aa9-7553-4936-a78f-e2e88b93696c" providerId="ADAL" clId="{4A4D90D6-324F-4CD5-949C-43B9653D1AEA}" dt="2019-10-24T12:13:36.546" v="8" actId="729"/>
        <pc:sldMkLst>
          <pc:docMk/>
          <pc:sldMk cId="2243093819" sldId="8589"/>
        </pc:sldMkLst>
      </pc:sldChg>
      <pc:sldChg chg="add del mod ord modShow">
        <pc:chgData name="Jason Virtue" userId="263f7aa9-7553-4936-a78f-e2e88b93696c" providerId="ADAL" clId="{4A4D90D6-324F-4CD5-949C-43B9653D1AEA}" dt="2019-10-25T15:57:16.538" v="38" actId="47"/>
        <pc:sldMkLst>
          <pc:docMk/>
          <pc:sldMk cId="1375536886" sldId="8611"/>
        </pc:sldMkLst>
      </pc:sldChg>
      <pc:sldChg chg="add ord modNotesTx">
        <pc:chgData name="Jason Virtue" userId="263f7aa9-7553-4936-a78f-e2e88b93696c" providerId="ADAL" clId="{4A4D90D6-324F-4CD5-949C-43B9653D1AEA}" dt="2019-10-25T15:58:25.348" v="41" actId="6549"/>
        <pc:sldMkLst>
          <pc:docMk/>
          <pc:sldMk cId="1586235842" sldId="8612"/>
        </pc:sldMkLst>
      </pc:sldChg>
      <pc:sldChg chg="modSp add">
        <pc:chgData name="Jason Virtue" userId="263f7aa9-7553-4936-a78f-e2e88b93696c" providerId="ADAL" clId="{4A4D90D6-324F-4CD5-949C-43B9653D1AEA}" dt="2019-10-25T16:28:27.154" v="376" actId="14100"/>
        <pc:sldMkLst>
          <pc:docMk/>
          <pc:sldMk cId="1236045345" sldId="8638"/>
        </pc:sldMkLst>
        <pc:spChg chg="mod">
          <ac:chgData name="Jason Virtue" userId="263f7aa9-7553-4936-a78f-e2e88b93696c" providerId="ADAL" clId="{4A4D90D6-324F-4CD5-949C-43B9653D1AEA}" dt="2019-10-25T16:28:27.154" v="376" actId="14100"/>
          <ac:spMkLst>
            <pc:docMk/>
            <pc:sldMk cId="1236045345" sldId="8638"/>
            <ac:spMk id="4" creationId="{38E7A355-DCA1-4446-AF58-3A2C90B8D00B}"/>
          </ac:spMkLst>
        </pc:spChg>
      </pc:sldChg>
      <pc:sldChg chg="delSp modTransition">
        <pc:chgData name="Jason Virtue" userId="263f7aa9-7553-4936-a78f-e2e88b93696c" providerId="ADAL" clId="{4A4D90D6-324F-4CD5-949C-43B9653D1AEA}" dt="2019-10-25T16:31:31.232" v="409"/>
        <pc:sldMkLst>
          <pc:docMk/>
          <pc:sldMk cId="1033937618" sldId="10080"/>
        </pc:sldMkLst>
        <pc:spChg chg="del">
          <ac:chgData name="Jason Virtue" userId="263f7aa9-7553-4936-a78f-e2e88b93696c" providerId="ADAL" clId="{4A4D90D6-324F-4CD5-949C-43B9653D1AEA}" dt="2019-10-25T16:16:51.022" v="136"/>
          <ac:spMkLst>
            <pc:docMk/>
            <pc:sldMk cId="1033937618" sldId="10080"/>
            <ac:spMk id="3" creationId="{DEC90F12-E17A-4765-89CA-AE9E14C70589}"/>
          </ac:spMkLst>
        </pc:spChg>
      </pc:sldChg>
      <pc:sldChg chg="add del ord">
        <pc:chgData name="Jason Virtue" userId="263f7aa9-7553-4936-a78f-e2e88b93696c" providerId="ADAL" clId="{4A4D90D6-324F-4CD5-949C-43B9653D1AEA}" dt="2019-10-24T12:16:36.614" v="18" actId="47"/>
        <pc:sldMkLst>
          <pc:docMk/>
          <pc:sldMk cId="4195460542" sldId="10727"/>
        </pc:sldMkLst>
      </pc:sldChg>
      <pc:sldChg chg="add del ord">
        <pc:chgData name="Jason Virtue" userId="263f7aa9-7553-4936-a78f-e2e88b93696c" providerId="ADAL" clId="{4A4D90D6-324F-4CD5-949C-43B9653D1AEA}" dt="2019-10-24T12:16:44.918" v="20" actId="47"/>
        <pc:sldMkLst>
          <pc:docMk/>
          <pc:sldMk cId="3697502462" sldId="10741"/>
        </pc:sldMkLst>
      </pc:sldChg>
      <pc:sldChg chg="del mod modShow">
        <pc:chgData name="Jason Virtue" userId="263f7aa9-7553-4936-a78f-e2e88b93696c" providerId="ADAL" clId="{4A4D90D6-324F-4CD5-949C-43B9653D1AEA}" dt="2019-10-24T12:17:45.078" v="25" actId="47"/>
        <pc:sldMkLst>
          <pc:docMk/>
          <pc:sldMk cId="3502996232" sldId="10799"/>
        </pc:sldMkLst>
      </pc:sldChg>
      <pc:sldChg chg="modSp add del ord">
        <pc:chgData name="Jason Virtue" userId="263f7aa9-7553-4936-a78f-e2e88b93696c" providerId="ADAL" clId="{4A4D90D6-324F-4CD5-949C-43B9653D1AEA}" dt="2019-10-25T16:32:25.051" v="410" actId="2710"/>
        <pc:sldMkLst>
          <pc:docMk/>
          <pc:sldMk cId="1506873129" sldId="10835"/>
        </pc:sldMkLst>
        <pc:spChg chg="mod">
          <ac:chgData name="Jason Virtue" userId="263f7aa9-7553-4936-a78f-e2e88b93696c" providerId="ADAL" clId="{4A4D90D6-324F-4CD5-949C-43B9653D1AEA}" dt="2019-10-25T16:05:31.465" v="135" actId="20577"/>
          <ac:spMkLst>
            <pc:docMk/>
            <pc:sldMk cId="1506873129" sldId="10835"/>
            <ac:spMk id="2" creationId="{3686CA5C-FC90-4360-AA1D-82C8132FEC83}"/>
          </ac:spMkLst>
        </pc:spChg>
        <pc:spChg chg="mod">
          <ac:chgData name="Jason Virtue" userId="263f7aa9-7553-4936-a78f-e2e88b93696c" providerId="ADAL" clId="{4A4D90D6-324F-4CD5-949C-43B9653D1AEA}" dt="2019-10-25T16:32:25.051" v="410" actId="2710"/>
          <ac:spMkLst>
            <pc:docMk/>
            <pc:sldMk cId="1506873129" sldId="10835"/>
            <ac:spMk id="3" creationId="{32978565-E5A0-4A83-AC21-D2926A88D581}"/>
          </ac:spMkLst>
        </pc:spChg>
      </pc:sldChg>
      <pc:sldChg chg="del mod modShow">
        <pc:chgData name="Jason Virtue" userId="263f7aa9-7553-4936-a78f-e2e88b93696c" providerId="ADAL" clId="{4A4D90D6-324F-4CD5-949C-43B9653D1AEA}" dt="2019-10-24T12:17:45.078" v="25" actId="47"/>
        <pc:sldMkLst>
          <pc:docMk/>
          <pc:sldMk cId="1788786245" sldId="10883"/>
        </pc:sldMkLst>
      </pc:sldChg>
      <pc:sldChg chg="del mod modShow">
        <pc:chgData name="Jason Virtue" userId="263f7aa9-7553-4936-a78f-e2e88b93696c" providerId="ADAL" clId="{4A4D90D6-324F-4CD5-949C-43B9653D1AEA}" dt="2019-10-24T12:17:45.078" v="25" actId="47"/>
        <pc:sldMkLst>
          <pc:docMk/>
          <pc:sldMk cId="1247288300" sldId="10889"/>
        </pc:sldMkLst>
      </pc:sldChg>
      <pc:sldChg chg="del mod modShow">
        <pc:chgData name="Jason Virtue" userId="263f7aa9-7553-4936-a78f-e2e88b93696c" providerId="ADAL" clId="{4A4D90D6-324F-4CD5-949C-43B9653D1AEA}" dt="2019-10-24T12:17:45.078" v="25" actId="47"/>
        <pc:sldMkLst>
          <pc:docMk/>
          <pc:sldMk cId="3045628015" sldId="10890"/>
        </pc:sldMkLst>
      </pc:sldChg>
      <pc:sldChg chg="del mod modShow">
        <pc:chgData name="Jason Virtue" userId="263f7aa9-7553-4936-a78f-e2e88b93696c" providerId="ADAL" clId="{4A4D90D6-324F-4CD5-949C-43B9653D1AEA}" dt="2019-10-24T12:17:45.078" v="25" actId="47"/>
        <pc:sldMkLst>
          <pc:docMk/>
          <pc:sldMk cId="34788946" sldId="10891"/>
        </pc:sldMkLst>
      </pc:sldChg>
      <pc:sldChg chg="del mod modShow">
        <pc:chgData name="Jason Virtue" userId="263f7aa9-7553-4936-a78f-e2e88b93696c" providerId="ADAL" clId="{4A4D90D6-324F-4CD5-949C-43B9653D1AEA}" dt="2019-10-24T12:17:45.078" v="25" actId="47"/>
        <pc:sldMkLst>
          <pc:docMk/>
          <pc:sldMk cId="3351059291" sldId="10892"/>
        </pc:sldMkLst>
      </pc:sldChg>
      <pc:sldChg chg="del mod modShow">
        <pc:chgData name="Jason Virtue" userId="263f7aa9-7553-4936-a78f-e2e88b93696c" providerId="ADAL" clId="{4A4D90D6-324F-4CD5-949C-43B9653D1AEA}" dt="2019-10-24T12:17:45.078" v="25" actId="47"/>
        <pc:sldMkLst>
          <pc:docMk/>
          <pc:sldMk cId="906843313" sldId="10893"/>
        </pc:sldMkLst>
      </pc:sldChg>
      <pc:sldChg chg="del">
        <pc:chgData name="Jason Virtue" userId="263f7aa9-7553-4936-a78f-e2e88b93696c" providerId="ADAL" clId="{4A4D90D6-324F-4CD5-949C-43B9653D1AEA}" dt="2019-10-25T15:59:57.621" v="48" actId="47"/>
        <pc:sldMkLst>
          <pc:docMk/>
          <pc:sldMk cId="3739138351" sldId="10894"/>
        </pc:sldMkLst>
      </pc:sldChg>
      <pc:sldChg chg="addSp delSp modSp add">
        <pc:chgData name="Jason Virtue" userId="263f7aa9-7553-4936-a78f-e2e88b93696c" providerId="ADAL" clId="{4A4D90D6-324F-4CD5-949C-43B9653D1AEA}" dt="2019-10-29T14:44:48.928" v="444" actId="554"/>
        <pc:sldMkLst>
          <pc:docMk/>
          <pc:sldMk cId="2740352097" sldId="10896"/>
        </pc:sldMkLst>
        <pc:spChg chg="mod">
          <ac:chgData name="Jason Virtue" userId="263f7aa9-7553-4936-a78f-e2e88b93696c" providerId="ADAL" clId="{4A4D90D6-324F-4CD5-949C-43B9653D1AEA}" dt="2019-10-25T16:20:55.780" v="148" actId="20577"/>
          <ac:spMkLst>
            <pc:docMk/>
            <pc:sldMk cId="2740352097" sldId="10896"/>
            <ac:spMk id="2" creationId="{5B1DB05D-7F50-4989-9D24-818179A0D107}"/>
          </ac:spMkLst>
        </pc:spChg>
        <pc:spChg chg="add del">
          <ac:chgData name="Jason Virtue" userId="263f7aa9-7553-4936-a78f-e2e88b93696c" providerId="ADAL" clId="{4A4D90D6-324F-4CD5-949C-43B9653D1AEA}" dt="2019-10-25T16:22:44.323" v="309"/>
          <ac:spMkLst>
            <pc:docMk/>
            <pc:sldMk cId="2740352097" sldId="10896"/>
            <ac:spMk id="3" creationId="{1AA8AD11-383E-4687-A85A-0B04D128AACE}"/>
          </ac:spMkLst>
        </pc:spChg>
        <pc:spChg chg="add mod">
          <ac:chgData name="Jason Virtue" userId="263f7aa9-7553-4936-a78f-e2e88b93696c" providerId="ADAL" clId="{4A4D90D6-324F-4CD5-949C-43B9653D1AEA}" dt="2019-10-29T14:44:48.928" v="444" actId="554"/>
          <ac:spMkLst>
            <pc:docMk/>
            <pc:sldMk cId="2740352097" sldId="10896"/>
            <ac:spMk id="3" creationId="{C74AC7A1-6A7D-4DAA-ABE7-E97E7E00C32C}"/>
          </ac:spMkLst>
        </pc:spChg>
        <pc:spChg chg="mod">
          <ac:chgData name="Jason Virtue" userId="263f7aa9-7553-4936-a78f-e2e88b93696c" providerId="ADAL" clId="{4A4D90D6-324F-4CD5-949C-43B9653D1AEA}" dt="2019-10-25T16:24:15.968" v="338" actId="20577"/>
          <ac:spMkLst>
            <pc:docMk/>
            <pc:sldMk cId="2740352097" sldId="10896"/>
            <ac:spMk id="4" creationId="{38E7A355-DCA1-4446-AF58-3A2C90B8D00B}"/>
          </ac:spMkLst>
        </pc:spChg>
        <pc:spChg chg="add mod">
          <ac:chgData name="Jason Virtue" userId="263f7aa9-7553-4936-a78f-e2e88b93696c" providerId="ADAL" clId="{4A4D90D6-324F-4CD5-949C-43B9653D1AEA}" dt="2019-10-29T14:44:48.928" v="444" actId="554"/>
          <ac:spMkLst>
            <pc:docMk/>
            <pc:sldMk cId="2740352097" sldId="10896"/>
            <ac:spMk id="5" creationId="{44C42B62-53BF-435A-84BF-34545DBF02FF}"/>
          </ac:spMkLst>
        </pc:spChg>
        <pc:spChg chg="add del">
          <ac:chgData name="Jason Virtue" userId="263f7aa9-7553-4936-a78f-e2e88b93696c" providerId="ADAL" clId="{4A4D90D6-324F-4CD5-949C-43B9653D1AEA}" dt="2019-10-25T16:22:50.966" v="311"/>
          <ac:spMkLst>
            <pc:docMk/>
            <pc:sldMk cId="2740352097" sldId="10896"/>
            <ac:spMk id="5" creationId="{9123915D-D081-4772-A44A-2F258A4B19EB}"/>
          </ac:spMkLst>
        </pc:spChg>
      </pc:sldChg>
      <pc:sldMasterChg chg="delSldLayout">
        <pc:chgData name="Jason Virtue" userId="263f7aa9-7553-4936-a78f-e2e88b93696c" providerId="ADAL" clId="{4A4D90D6-324F-4CD5-949C-43B9653D1AEA}" dt="2019-10-24T12:18:45.238" v="28" actId="47"/>
        <pc:sldMasterMkLst>
          <pc:docMk/>
          <pc:sldMasterMk cId="2943029317" sldId="2147483698"/>
        </pc:sldMasterMkLst>
        <pc:sldLayoutChg chg="del">
          <pc:chgData name="Jason Virtue" userId="263f7aa9-7553-4936-a78f-e2e88b93696c" providerId="ADAL" clId="{4A4D90D6-324F-4CD5-949C-43B9653D1AEA}" dt="2019-10-24T12:18:45.238" v="28" actId="47"/>
          <pc:sldLayoutMkLst>
            <pc:docMk/>
            <pc:sldMasterMk cId="2943029317" sldId="2147483698"/>
            <pc:sldLayoutMk cId="1503734581" sldId="2147483820"/>
          </pc:sldLayoutMkLst>
        </pc:sldLayoutChg>
      </pc:sldMasterChg>
      <pc:sldMasterChg chg="delSldLayout">
        <pc:chgData name="Jason Virtue" userId="263f7aa9-7553-4936-a78f-e2e88b93696c" providerId="ADAL" clId="{4A4D90D6-324F-4CD5-949C-43B9653D1AEA}" dt="2019-10-24T12:17:39.005" v="24" actId="47"/>
        <pc:sldMasterMkLst>
          <pc:docMk/>
          <pc:sldMasterMk cId="153632986" sldId="2147483727"/>
        </pc:sldMasterMkLst>
        <pc:sldLayoutChg chg="del">
          <pc:chgData name="Jason Virtue" userId="263f7aa9-7553-4936-a78f-e2e88b93696c" providerId="ADAL" clId="{4A4D90D6-324F-4CD5-949C-43B9653D1AEA}" dt="2019-10-24T12:17:39.005" v="24" actId="47"/>
          <pc:sldLayoutMkLst>
            <pc:docMk/>
            <pc:sldMasterMk cId="153632986" sldId="2147483727"/>
            <pc:sldLayoutMk cId="1368964191" sldId="2147483795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549174-9479-412A-B069-F3DF9D7A5666}" type="datetimeFigureOut">
              <a:rPr lang="en-GB" smtClean="0"/>
              <a:t>12/11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B8AF7F-066E-4BCD-B99A-AC4EB14F352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4344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11/12/2019 8:17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8979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B8AF7F-066E-4BCD-B99A-AC4EB14F352D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71476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B8AF7F-066E-4BCD-B99A-AC4EB14F352D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3656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[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EC85D7-00F8-4974-AB9B-DBC46362CCF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1390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B8AF7F-066E-4BCD-B99A-AC4EB14F352D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08366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B8AF7F-066E-4BCD-B99A-AC4EB14F352D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122636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2D3714-B553-A044-BA72-366907BA36B5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278323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B8AF7F-066E-4BCD-B99A-AC4EB14F352D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671159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84978">
              <a:defRPr/>
            </a:pPr>
            <a:r>
              <a:rPr lang="en-US" sz="1900" kern="0">
                <a:solidFill>
                  <a:sysClr val="windowText" lastClr="000000"/>
                </a:solidFill>
                <a:latin typeface="Segoe UI" pitchFamily="34" charset="0"/>
              </a:rPr>
              <a:t>Microsoft Envision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84654" eaLnBrk="0" hangingPunct="0">
              <a:defRPr/>
            </a:pPr>
            <a:r>
              <a:rPr lang="en-US" sz="400" ker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defTabSz="984978">
              <a:defRPr/>
            </a:pPr>
            <a:fld id="{38EEC551-8CDA-4EB6-89BB-2A86C9F091C8}" type="datetime8">
              <a:rPr lang="en-US" sz="1900" kern="0">
                <a:solidFill>
                  <a:sysClr val="windowText" lastClr="000000"/>
                </a:solidFill>
                <a:latin typeface="Segoe UI" pitchFamily="34" charset="0"/>
              </a:rPr>
              <a:pPr defTabSz="984978">
                <a:defRPr/>
              </a:pPr>
              <a:t>11/12/2019 8:17 AM</a:t>
            </a:fld>
            <a:endParaRPr lang="en-US" sz="1900" kern="0">
              <a:solidFill>
                <a:sysClr val="windowText" lastClr="000000"/>
              </a:solidFill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89082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github.com/chronicle17/DSDevOp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B8AF7F-066E-4BCD-B99A-AC4EB14F352D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81185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B8AF7F-066E-4BCD-B99A-AC4EB14F352D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92267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C470E0-F101-4710-A121-DF6D0F7F2570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48104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B8AF7F-066E-4BCD-B99A-AC4EB14F352D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26357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2/2019 8:17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824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B8AF7F-066E-4BCD-B99A-AC4EB14F352D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95351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B8AF7F-066E-4BCD-B99A-AC4EB14F352D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90177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3CB9BC-1358-8544-AE66-E329F5C6668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1194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8217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hyperlink" Target="http://aka.ms/fall2018mlads" TargetMode="External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2.emf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4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6.png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5" y="0"/>
            <a:ext cx="12190271" cy="6858000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 bwMode="white">
          <a:xfrm>
            <a:off x="288431" y="2094721"/>
            <a:ext cx="11653523" cy="1919252"/>
          </a:xfrm>
          <a:prstGeom prst="rect">
            <a:avLst/>
          </a:prstGeom>
          <a:noFill/>
        </p:spPr>
        <p:txBody>
          <a:bodyPr wrap="square" lIns="134464" tIns="143428" rIns="134464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882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Machine Learning,</a:t>
            </a:r>
            <a:r>
              <a:rPr lang="en-US" sz="5882" baseline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 Analytics,</a:t>
            </a:r>
            <a:br>
              <a:rPr lang="en-US" sz="5882" baseline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</a:br>
            <a:r>
              <a:rPr lang="en-US" sz="5882" baseline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&amp; </a:t>
            </a:r>
            <a:r>
              <a:rPr lang="en-US" sz="5882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Data Science Conference</a:t>
            </a:r>
            <a:endParaRPr lang="en-US" sz="7058">
              <a:gradFill>
                <a:gsLst>
                  <a:gs pos="2917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latin typeface="Segoe UI Light"/>
            </a:endParaRPr>
          </a:p>
        </p:txBody>
      </p:sp>
      <p:sp>
        <p:nvSpPr>
          <p:cNvPr id="18" name="TextBox 17"/>
          <p:cNvSpPr txBox="1"/>
          <p:nvPr userDrawn="1"/>
        </p:nvSpPr>
        <p:spPr bwMode="white">
          <a:xfrm>
            <a:off x="288431" y="3950687"/>
            <a:ext cx="9994611" cy="832882"/>
          </a:xfrm>
          <a:prstGeom prst="rect">
            <a:avLst/>
          </a:prstGeom>
          <a:noFill/>
        </p:spPr>
        <p:txBody>
          <a:bodyPr wrap="square" lIns="134464" tIns="143428" rIns="134464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3921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Nov 17–18</a:t>
            </a:r>
            <a:r>
              <a:rPr lang="en-US" sz="3921" baseline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 </a:t>
            </a:r>
            <a:r>
              <a:rPr lang="en-US" sz="3921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| MSCC, Redmond, WA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ltGray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 bwMode="ltGray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ltGray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37951408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9860673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68894644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14160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732849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0752466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3460937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body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12050446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388831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769821"/>
            <a:ext cx="388831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9508118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125E-6 1.48148E-6 L 0.02916 1.48148E-6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5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3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125E-6 1.48148E-6 L 0.02916 1.48148E-6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5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35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3.125E-6 1.48148E-6 L 0.02916 1.48148E-6 " pathEditMode="relative" rAng="0" ptsTypes="AA">
                      <p:cBhvr>
                        <p:cTn dur="500" spd="-1000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458" y="0"/>
                    </p:animMotion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8434522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1904243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5178344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316371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9860673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166566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1577405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55029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30217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932123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2861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1832603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Inser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Placeholder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18075" y="-4979"/>
            <a:ext cx="6273925" cy="5684621"/>
          </a:xfrm>
          <a:prstGeom prst="rect">
            <a:avLst/>
          </a:prstGeom>
        </p:spPr>
      </p:pic>
      <p:sp>
        <p:nvSpPr>
          <p:cNvPr id="20" name="Picture Placeholder 144"/>
          <p:cNvSpPr>
            <a:spLocks noGrp="1"/>
          </p:cNvSpPr>
          <p:nvPr>
            <p:ph type="pic" sz="quarter" idx="20" hasCustomPrompt="1"/>
          </p:nvPr>
        </p:nvSpPr>
        <p:spPr>
          <a:xfrm>
            <a:off x="5918075" y="0"/>
            <a:ext cx="6273925" cy="568462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here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613786" y="851200"/>
            <a:ext cx="4699724" cy="104359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32"/>
          <p:cNvSpPr>
            <a:spLocks noGrp="1"/>
          </p:cNvSpPr>
          <p:nvPr>
            <p:ph type="body" sz="quarter" idx="11"/>
          </p:nvPr>
        </p:nvSpPr>
        <p:spPr>
          <a:xfrm>
            <a:off x="622300" y="1930399"/>
            <a:ext cx="4724400" cy="33829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800"/>
              </a:lnSpc>
              <a:buNone/>
              <a:defRPr sz="12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13962495" y="10026650"/>
            <a:ext cx="0" cy="635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 userDrawn="1"/>
        </p:nvSpPr>
        <p:spPr>
          <a:xfrm>
            <a:off x="0" y="5689600"/>
            <a:ext cx="12192000" cy="1168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136"/>
          <p:cNvSpPr>
            <a:spLocks noGrp="1"/>
          </p:cNvSpPr>
          <p:nvPr>
            <p:ph type="body" sz="quarter" idx="35"/>
          </p:nvPr>
        </p:nvSpPr>
        <p:spPr>
          <a:xfrm>
            <a:off x="10933315" y="6301905"/>
            <a:ext cx="840508" cy="3829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10523604" y="5930900"/>
            <a:ext cx="0" cy="635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Picture Placeholder 144"/>
          <p:cNvSpPr>
            <a:spLocks noGrp="1"/>
          </p:cNvSpPr>
          <p:nvPr>
            <p:ph type="pic" sz="quarter" idx="36" hasCustomPrompt="1"/>
          </p:nvPr>
        </p:nvSpPr>
        <p:spPr>
          <a:xfrm>
            <a:off x="202498" y="5884716"/>
            <a:ext cx="2064635" cy="83437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None/>
              <a:defRPr sz="1600">
                <a:solidFill>
                  <a:srgbClr val="7030A0"/>
                </a:solidFill>
              </a:defRPr>
            </a:lvl1pPr>
          </a:lstStyle>
          <a:p>
            <a:r>
              <a:rPr lang="en-US"/>
              <a:t>Drag logo here</a:t>
            </a:r>
          </a:p>
        </p:txBody>
      </p:sp>
      <p:sp>
        <p:nvSpPr>
          <p:cNvPr id="55" name="Text Placeholder 136"/>
          <p:cNvSpPr>
            <a:spLocks noGrp="1"/>
          </p:cNvSpPr>
          <p:nvPr>
            <p:ph type="body" sz="quarter" idx="31"/>
          </p:nvPr>
        </p:nvSpPr>
        <p:spPr>
          <a:xfrm>
            <a:off x="8892839" y="6156112"/>
            <a:ext cx="805425" cy="4639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Text Placeholder 136"/>
          <p:cNvSpPr>
            <a:spLocks noGrp="1"/>
          </p:cNvSpPr>
          <p:nvPr>
            <p:ph type="body" sz="quarter" idx="32"/>
          </p:nvPr>
        </p:nvSpPr>
        <p:spPr>
          <a:xfrm>
            <a:off x="7302675" y="6181251"/>
            <a:ext cx="879812" cy="4639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136"/>
          <p:cNvSpPr>
            <a:spLocks noGrp="1"/>
          </p:cNvSpPr>
          <p:nvPr>
            <p:ph type="body" sz="quarter" idx="33"/>
          </p:nvPr>
        </p:nvSpPr>
        <p:spPr>
          <a:xfrm>
            <a:off x="5307250" y="6156112"/>
            <a:ext cx="988642" cy="4639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136"/>
          <p:cNvSpPr>
            <a:spLocks noGrp="1"/>
          </p:cNvSpPr>
          <p:nvPr>
            <p:ph type="body" sz="quarter" idx="34"/>
          </p:nvPr>
        </p:nvSpPr>
        <p:spPr>
          <a:xfrm>
            <a:off x="3087261" y="6171517"/>
            <a:ext cx="1505159" cy="4639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Box 59"/>
          <p:cNvSpPr txBox="1"/>
          <p:nvPr userDrawn="1"/>
        </p:nvSpPr>
        <p:spPr>
          <a:xfrm>
            <a:off x="3197994" y="5916409"/>
            <a:ext cx="148754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>
                <a:solidFill>
                  <a:schemeClr val="bg1">
                    <a:lumMod val="50000"/>
                  </a:schemeClr>
                </a:solidFill>
              </a:rPr>
              <a:t>Products and Services</a:t>
            </a:r>
          </a:p>
        </p:txBody>
      </p:sp>
      <p:sp>
        <p:nvSpPr>
          <p:cNvPr id="61" name="TextBox 60"/>
          <p:cNvSpPr txBox="1"/>
          <p:nvPr userDrawn="1"/>
        </p:nvSpPr>
        <p:spPr>
          <a:xfrm>
            <a:off x="5294550" y="5912045"/>
            <a:ext cx="1247049" cy="155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>
                <a:solidFill>
                  <a:schemeClr val="bg1">
                    <a:lumMod val="50000"/>
                  </a:schemeClr>
                </a:solidFill>
              </a:rPr>
              <a:t>Organization Size</a:t>
            </a:r>
          </a:p>
        </p:txBody>
      </p:sp>
      <p:sp>
        <p:nvSpPr>
          <p:cNvPr id="62" name="TextBox 61"/>
          <p:cNvSpPr txBox="1"/>
          <p:nvPr userDrawn="1"/>
        </p:nvSpPr>
        <p:spPr>
          <a:xfrm>
            <a:off x="7464535" y="5915827"/>
            <a:ext cx="98864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>
                <a:solidFill>
                  <a:schemeClr val="bg1">
                    <a:lumMod val="50000"/>
                  </a:schemeClr>
                </a:solidFill>
              </a:rPr>
              <a:t>Industry</a:t>
            </a:r>
          </a:p>
        </p:txBody>
      </p:sp>
      <p:sp>
        <p:nvSpPr>
          <p:cNvPr id="63" name="TextBox 62"/>
          <p:cNvSpPr txBox="1"/>
          <p:nvPr userDrawn="1"/>
        </p:nvSpPr>
        <p:spPr>
          <a:xfrm>
            <a:off x="8994069" y="5930900"/>
            <a:ext cx="98864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>
                <a:solidFill>
                  <a:schemeClr val="bg1">
                    <a:lumMod val="50000"/>
                  </a:schemeClr>
                </a:solidFill>
              </a:rPr>
              <a:t>Country</a:t>
            </a:r>
          </a:p>
        </p:txBody>
      </p:sp>
    </p:spTree>
    <p:extLst>
      <p:ext uri="{BB962C8B-B14F-4D97-AF65-F5344CB8AC3E}">
        <p14:creationId xmlns:p14="http://schemas.microsoft.com/office/powerpoint/2010/main" val="300746025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C785812-DBB3-49A5-B9A5-226A70E584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2219833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- gra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69353152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A3E6B8-C517-4BE4-A514-09C34B704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9798B6-408E-4BD8-B396-E43DFDF0BC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B095B8-2559-4C20-B99B-C72BB456A9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664B89-9FC2-43CF-B54A-D230E3B74365}" type="datetimeFigureOut">
              <a:rPr lang="en-US" smtClean="0"/>
              <a:t>11/1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046552-0051-4DBA-8A17-1287FB3879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F332E4-ABC1-412C-8096-C91EDC2BFD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5EDB79-6E5A-4D45-BB47-5400020319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83103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9860673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42979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6902176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4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566" indent="0">
              <a:buNone/>
              <a:defRPr/>
            </a:lvl2pPr>
            <a:lvl3pPr marL="588250" indent="0">
              <a:buNone/>
              <a:defRPr/>
            </a:lvl3pPr>
            <a:lvl4pPr marL="869816" indent="0">
              <a:buNone/>
              <a:defRPr/>
            </a:lvl4pPr>
            <a:lvl5pPr marL="1105115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50853" y="1600202"/>
            <a:ext cx="11890297" cy="4577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0510175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1959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n image of neuronetwork.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865" y="0"/>
            <a:ext cx="12190271" cy="685800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 bwMode="white">
          <a:xfrm>
            <a:off x="423333" y="2674773"/>
            <a:ext cx="7913674" cy="1508453"/>
          </a:xfrm>
          <a:prstGeom prst="rect">
            <a:avLst/>
          </a:prstGeom>
          <a:noFill/>
        </p:spPr>
        <p:txBody>
          <a:bodyPr wrap="square" lIns="134464" tIns="143428" rIns="134464" bIns="143428" rtlCol="0" anchor="ctr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440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Machine Learning,</a:t>
            </a:r>
            <a:r>
              <a:rPr lang="en-US" sz="4400" baseline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 AI,</a:t>
            </a:r>
            <a:br>
              <a:rPr lang="en-US" sz="4400" baseline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4400" baseline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nd </a:t>
            </a:r>
            <a:r>
              <a:rPr lang="en-US" sz="440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 Science Conference</a:t>
            </a:r>
          </a:p>
        </p:txBody>
      </p:sp>
      <p:pic>
        <p:nvPicPr>
          <p:cNvPr id="10" name="MS logo white - EMF" descr="Microsoft logo white text version">
            <a:extLst>
              <a:ext uri="{FF2B5EF4-FFF2-40B4-BE49-F238E27FC236}">
                <a16:creationId xmlns:a16="http://schemas.microsoft.com/office/drawing/2014/main" id="{A1E802C5-F995-4758-BDEF-6665E09AE20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0E754D0E-2F0C-497A-9A27-BFDBE035D3FE}"/>
              </a:ext>
            </a:extLst>
          </p:cNvPr>
          <p:cNvGrpSpPr/>
          <p:nvPr userDrawn="1"/>
        </p:nvGrpSpPr>
        <p:grpSpPr>
          <a:xfrm>
            <a:off x="7990972" y="2572073"/>
            <a:ext cx="3662864" cy="1713852"/>
            <a:chOff x="8377689" y="3035497"/>
            <a:chExt cx="3662864" cy="1713852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1E354233-98E9-4113-A218-FAF747D633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056950" y="3035497"/>
              <a:ext cx="0" cy="1680460"/>
            </a:xfrm>
            <a:prstGeom prst="line">
              <a:avLst/>
            </a:prstGeom>
            <a:noFill/>
            <a:ln w="25400" cap="flat" cmpd="sng" algn="ctr">
              <a:solidFill>
                <a:srgbClr val="FFFFFF"/>
              </a:solidFill>
              <a:prstDash val="solid"/>
              <a:headEnd type="none"/>
              <a:tailEnd type="none"/>
            </a:ln>
            <a:effectLst/>
          </p:spPr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575B65F6-BFDE-40DE-8686-A77A38A578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056950" y="3875727"/>
              <a:ext cx="914400" cy="0"/>
            </a:xfrm>
            <a:prstGeom prst="line">
              <a:avLst/>
            </a:prstGeom>
            <a:noFill/>
            <a:ln w="25400" cap="flat" cmpd="sng" algn="ctr">
              <a:solidFill>
                <a:srgbClr val="FFFFFF"/>
              </a:solidFill>
              <a:prstDash val="solid"/>
              <a:headEnd type="none"/>
              <a:tailEnd type="none"/>
            </a:ln>
            <a:effectLst/>
          </p:spPr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B3701858-4A85-47DC-8EBA-D8E90AA283F2}"/>
                </a:ext>
              </a:extLst>
            </p:cNvPr>
            <p:cNvSpPr txBox="1"/>
            <p:nvPr userDrawn="1"/>
          </p:nvSpPr>
          <p:spPr>
            <a:xfrm>
              <a:off x="8377689" y="3385436"/>
              <a:ext cx="2679260" cy="9602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 anchor="ctr">
              <a:spAutoFit/>
            </a:bodyPr>
            <a:lstStyle/>
            <a:p>
              <a:pPr marL="0" marR="0" lvl="0" indent="0" algn="r" defTabSz="932742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ovember 12–14</a:t>
              </a:r>
            </a:p>
            <a:p>
              <a:pPr marL="0" marR="0" lvl="0" indent="0" algn="r" defTabSz="932742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Redmond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11C5BD14-30C1-4C22-9F88-16A0629099D4}"/>
                </a:ext>
              </a:extLst>
            </p:cNvPr>
            <p:cNvSpPr txBox="1"/>
            <p:nvPr userDrawn="1"/>
          </p:nvSpPr>
          <p:spPr>
            <a:xfrm>
              <a:off x="11056950" y="3475328"/>
              <a:ext cx="983603" cy="398251"/>
            </a:xfrm>
            <a:prstGeom prst="rect">
              <a:avLst/>
            </a:prstGeom>
            <a:noFill/>
          </p:spPr>
          <p:txBody>
            <a:bodyPr wrap="none" lIns="91440" tIns="91440" rIns="91440" bIns="91440" rtlCol="0" anchor="b">
              <a:noAutofit/>
            </a:bodyPr>
            <a:lstStyle/>
            <a:p>
              <a:pPr marL="0" marR="0" lvl="0" indent="0" defTabSz="932742" eaLnBrk="1" fontAlgn="auto" latinLnBrk="0" hangingPunct="1">
                <a:lnSpc>
                  <a:spcPct val="15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20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1E5FE256-76B5-4E87-ADD8-E59DA6AFB5D8}"/>
                </a:ext>
              </a:extLst>
            </p:cNvPr>
            <p:cNvSpPr txBox="1"/>
            <p:nvPr userDrawn="1"/>
          </p:nvSpPr>
          <p:spPr>
            <a:xfrm>
              <a:off x="11056950" y="4351098"/>
              <a:ext cx="983603" cy="398251"/>
            </a:xfrm>
            <a:prstGeom prst="rect">
              <a:avLst/>
            </a:prstGeom>
            <a:noFill/>
          </p:spPr>
          <p:txBody>
            <a:bodyPr wrap="none" lIns="91440" tIns="91440" rIns="91440" bIns="91440" rtlCol="0" anchor="t">
              <a:noAutofit/>
            </a:bodyPr>
            <a:lstStyle/>
            <a:p>
              <a:pPr marL="0" marR="0" lvl="0" indent="0" defTabSz="932742" eaLnBrk="1" fontAlgn="auto" latinLnBrk="0" hangingPunct="1">
                <a:lnSpc>
                  <a:spcPct val="15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1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783625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973176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19739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412151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95243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718965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328969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3012559"/>
            <a:ext cx="5378548" cy="832882"/>
          </a:xfrm>
        </p:spPr>
        <p:txBody>
          <a:bodyPr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705813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917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1283377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22877866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080111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98304131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46446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556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596909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arePoint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n image of neuronetwork.">
            <a:extLst>
              <a:ext uri="{FF2B5EF4-FFF2-40B4-BE49-F238E27FC236}">
                <a16:creationId xmlns:a16="http://schemas.microsoft.com/office/drawing/2014/main" id="{B3F963A3-2F4D-4783-B405-E83DA04286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865" y="0"/>
            <a:ext cx="12190271" cy="6858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41694BA-0F99-4A36-8E05-3F73A3A21D42}"/>
              </a:ext>
            </a:extLst>
          </p:cNvPr>
          <p:cNvSpPr txBox="1"/>
          <p:nvPr userDrawn="1"/>
        </p:nvSpPr>
        <p:spPr>
          <a:xfrm>
            <a:off x="584199" y="2044006"/>
            <a:ext cx="9142413" cy="2769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kumimoji="0" lang="en-US" sz="3600" b="0" i="0" u="none" strike="noStrike" kern="1200" cap="none" spc="-50" normalizeH="0" baseline="0" noProof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Thank you for attending MLADS and continuing to build our strong community</a:t>
            </a:r>
            <a:br>
              <a:rPr kumimoji="0" lang="en-US" sz="3600" b="0" i="0" u="none" strike="noStrike" kern="1200" cap="none" spc="-50" normalizeH="0" baseline="0" noProof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</a:br>
            <a:br>
              <a:rPr kumimoji="0" lang="en-US" sz="3600" b="0" i="0" u="none" strike="noStrike" kern="1200" cap="none" spc="-50" normalizeH="0" baseline="0" noProof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</a:br>
            <a:r>
              <a:rPr kumimoji="0" lang="en-US" sz="2400" b="0" i="0" u="none" strike="noStrike" kern="1200" cap="none" spc="-50" normalizeH="0" baseline="0" noProof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n-ea"/>
                <a:cs typeface="Segoe UI" pitchFamily="34" charset="0"/>
              </a:rPr>
              <a:t>If you’re interested in accessing a recorded </a:t>
            </a:r>
            <a:br>
              <a:rPr kumimoji="0" lang="en-US" sz="2400" b="0" i="0" u="none" strike="noStrike" kern="1200" cap="none" spc="-50" normalizeH="0" baseline="0" noProof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n-ea"/>
                <a:cs typeface="Segoe UI" pitchFamily="34" charset="0"/>
              </a:rPr>
            </a:br>
            <a:r>
              <a:rPr kumimoji="0" lang="en-US" sz="2400" b="0" i="0" u="none" strike="noStrike" kern="1200" cap="none" spc="-50" normalizeH="0" baseline="0" noProof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n-ea"/>
                <a:cs typeface="Segoe UI" pitchFamily="34" charset="0"/>
              </a:rPr>
              <a:t>version of content from the conference, </a:t>
            </a:r>
            <a:br>
              <a:rPr kumimoji="0" lang="en-US" sz="2400" b="0" i="0" u="none" strike="noStrike" kern="1200" cap="none" spc="-50" normalizeH="0" baseline="0" noProof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n-ea"/>
                <a:cs typeface="Segoe UI" pitchFamily="34" charset="0"/>
              </a:rPr>
            </a:br>
            <a:r>
              <a:rPr kumimoji="0" lang="en-US" sz="2400" b="0" i="0" u="none" strike="noStrike" kern="1200" cap="none" spc="-50" normalizeH="0" baseline="0" noProof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n-ea"/>
                <a:cs typeface="Segoe UI" pitchFamily="34" charset="0"/>
              </a:rPr>
              <a:t>it can be found here: </a:t>
            </a:r>
            <a:r>
              <a:rPr lang="en-US" sz="24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://aka.ms/fall2018mlads</a:t>
            </a:r>
            <a:endParaRPr lang="en-US" sz="3200" b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n-lt"/>
            </a:endParaRPr>
          </a:p>
        </p:txBody>
      </p:sp>
      <p:pic>
        <p:nvPicPr>
          <p:cNvPr id="4" name="MS logo white - EMF" descr="Microsoft logo white text version">
            <a:extLst>
              <a:ext uri="{FF2B5EF4-FFF2-40B4-BE49-F238E27FC236}">
                <a16:creationId xmlns:a16="http://schemas.microsoft.com/office/drawing/2014/main" id="{1C51E223-E511-45C6-B90B-21F97617A5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16D9DF8-5D28-4C40-8964-9A3444E35BDF}"/>
              </a:ext>
            </a:extLst>
          </p:cNvPr>
          <p:cNvCxnSpPr>
            <a:cxnSpLocks/>
          </p:cNvCxnSpPr>
          <p:nvPr userDrawn="1"/>
        </p:nvCxnSpPr>
        <p:spPr>
          <a:xfrm flipV="1">
            <a:off x="584199" y="3429000"/>
            <a:ext cx="2286000" cy="1"/>
          </a:xfrm>
          <a:prstGeom prst="line">
            <a:avLst/>
          </a:prstGeom>
          <a:noFill/>
          <a:ln w="25400" cap="flat" cmpd="sng" algn="ctr">
            <a:solidFill>
              <a:srgbClr val="FFFFFF"/>
            </a:solidFill>
            <a:prstDash val="solid"/>
            <a:headEnd type="none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val="29823356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0771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24184935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5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4350" y="0"/>
            <a:ext cx="6857650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282679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sitting at a table using a computer&#10;&#10;Description generated with high confidence">
            <a:extLst>
              <a:ext uri="{FF2B5EF4-FFF2-40B4-BE49-F238E27FC236}">
                <a16:creationId xmlns:a16="http://schemas.microsoft.com/office/drawing/2014/main" id="{AC14534E-46CD-4303-B862-80358F1B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" y="0"/>
            <a:ext cx="12192000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-2" y="-5304"/>
            <a:ext cx="4526282" cy="6863304"/>
          </a:xfrm>
          <a:prstGeom prst="rect">
            <a:avLst/>
          </a:prstGeom>
          <a:gradFill>
            <a:gsLst>
              <a:gs pos="0">
                <a:schemeClr val="bg1">
                  <a:alpha val="71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46292" y="256398"/>
            <a:ext cx="1829371" cy="673018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7682" y="2084172"/>
            <a:ext cx="6274974" cy="3586208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3" y="2077814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704" spc="-98" baseline="0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8"/>
            <a:ext cx="6276530" cy="651821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3136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095068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4795262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 algn="ctr">
              <a:defRPr kumimoji="0" lang="en-US" sz="2400" b="0" i="0" u="none" strike="noStrike" kern="1200" cap="all" spc="800" normalizeH="0" baseline="0" dirty="0">
                <a:ln w="3175"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 charset="0"/>
                <a:ea typeface="+mn-ea"/>
                <a:cs typeface="Segoe UI Light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1416581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st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D0DDC16-BBB9-486F-A6F2-9C2AED9A5532}"/>
              </a:ext>
            </a:extLst>
          </p:cNvPr>
          <p:cNvSpPr/>
          <p:nvPr userDrawn="1"/>
        </p:nvSpPr>
        <p:spPr>
          <a:xfrm>
            <a:off x="-1" y="-7783"/>
            <a:ext cx="6096000" cy="6865783"/>
          </a:xfrm>
          <a:prstGeom prst="rect">
            <a:avLst/>
          </a:prstGeom>
          <a:solidFill>
            <a:schemeClr val="tx2">
              <a:alpha val="7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225">
              <a:defRPr/>
            </a:pPr>
            <a:endParaRPr lang="en-US" sz="1800" kern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5602653" cy="89966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74117445"/>
      </p:ext>
    </p:extLst>
  </p:cSld>
  <p:clrMapOvr>
    <a:masterClrMapping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AEC1168-A0A4-46A4-9795-88987B3118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0" y="1221953"/>
            <a:ext cx="11655840" cy="1348908"/>
          </a:xfrm>
        </p:spPr>
        <p:txBody>
          <a:bodyPr vert="horz" wrap="square" lIns="146304" tIns="91440" rIns="146304" bIns="91440" rtlCol="0">
            <a:spAutoFit/>
          </a:bodyPr>
          <a:lstStyle>
            <a:lvl1pPr>
              <a:defRPr lang="en-US" sz="1961" smtClean="0"/>
            </a:lvl1pPr>
            <a:lvl2pPr>
              <a:defRPr lang="en-US" sz="1568" smtClean="0"/>
            </a:lvl2pPr>
            <a:lvl3pPr>
              <a:defRPr lang="en-US" sz="1372" smtClean="0"/>
            </a:lvl3pPr>
            <a:lvl4pPr>
              <a:defRPr lang="en-US" sz="1176" smtClean="0"/>
            </a:lvl4pPr>
            <a:lvl5pPr>
              <a:defRPr lang="en-US" sz="1176"/>
            </a:lvl5pPr>
          </a:lstStyle>
          <a:p>
            <a:pPr lvl="0">
              <a:buClr>
                <a:schemeClr val="tx2"/>
              </a:buClr>
            </a:pPr>
            <a:r>
              <a:rPr lang="en-US"/>
              <a:t>Edit Master text styles</a:t>
            </a:r>
          </a:p>
          <a:p>
            <a:pPr lvl="1">
              <a:buClr>
                <a:schemeClr val="tx2"/>
              </a:buClr>
            </a:pPr>
            <a:r>
              <a:rPr lang="en-US"/>
              <a:t>Second level</a:t>
            </a:r>
          </a:p>
          <a:p>
            <a:pPr lvl="2">
              <a:buClr>
                <a:schemeClr val="tx2"/>
              </a:buClr>
            </a:pPr>
            <a:r>
              <a:rPr lang="en-US"/>
              <a:t>Third level</a:t>
            </a:r>
          </a:p>
          <a:p>
            <a:pPr lvl="3">
              <a:buClr>
                <a:schemeClr val="tx2"/>
              </a:buClr>
            </a:pPr>
            <a:r>
              <a:rPr lang="en-US"/>
              <a:t>Fourth level</a:t>
            </a:r>
          </a:p>
          <a:p>
            <a:pPr lvl="4">
              <a:buClr>
                <a:schemeClr val="tx2"/>
              </a:buClr>
            </a:pPr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8B3623B-BAF3-4EA6-AEDA-9BA28ACF9B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6501244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D51C7F-EDB0-43D4-AC00-C35AC221C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7277" y="2309700"/>
            <a:ext cx="5115694" cy="1139030"/>
          </a:xfrm>
        </p:spPr>
        <p:txBody>
          <a:bodyPr wrap="square" lIns="91440" rIns="91440" anchor="b" anchorCtr="0">
            <a:spAutoFit/>
          </a:bodyPr>
          <a:lstStyle>
            <a:lvl1pPr>
              <a:defRPr lang="en-US" sz="3200" kern="0" spc="49">
                <a:solidFill>
                  <a:srgbClr val="0078D7"/>
                </a:solidFill>
                <a:latin typeface="Segoe UI Semilight" charset="0"/>
                <a:ea typeface="Segoe UI Semilight" charset="0"/>
                <a:cs typeface="Segoe UI Semilight" charset="0"/>
              </a:defRPr>
            </a:lvl1pPr>
          </a:lstStyle>
          <a:p>
            <a:pPr marL="0" lvl="0" defTabSz="913927" fontAlgn="base">
              <a:lnSpc>
                <a:spcPct val="95000"/>
              </a:lnSpc>
              <a:spcAft>
                <a:spcPct val="0"/>
              </a:spcAft>
            </a:pPr>
            <a:r>
              <a:rPr lang="en-US"/>
              <a:t>Click to edit Master title sty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A778CC4-406A-442C-8E86-E42BCD000C36}"/>
              </a:ext>
            </a:extLst>
          </p:cNvPr>
          <p:cNvCxnSpPr/>
          <p:nvPr userDrawn="1"/>
        </p:nvCxnSpPr>
        <p:spPr>
          <a:xfrm flipH="1">
            <a:off x="697278" y="3510463"/>
            <a:ext cx="4314648" cy="0"/>
          </a:xfrm>
          <a:prstGeom prst="line">
            <a:avLst/>
          </a:prstGeom>
          <a:ln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EC9E0D8-FE56-4E49-BC3A-B9AC9692609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16826" y="0"/>
            <a:ext cx="6075175" cy="700320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C5D8C4F-E2E3-496B-A612-EEDE8B4214B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7278" y="3695664"/>
            <a:ext cx="4314649" cy="1317284"/>
          </a:xfrm>
        </p:spPr>
        <p:txBody>
          <a:bodyPr lIns="91440" rIns="91440"/>
          <a:lstStyle>
            <a:lvl1pPr>
              <a:spcBef>
                <a:spcPts val="200"/>
              </a:spcBef>
              <a:spcAft>
                <a:spcPts val="1200"/>
              </a:spcAft>
              <a:defRPr lang="en-US" sz="1200" b="1" kern="1200" spc="170" dirty="0" smtClean="0">
                <a:solidFill>
                  <a:srgbClr val="505050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  <a:lvl2pPr>
              <a:defRPr lang="en-US" sz="1200" b="1" kern="1200" spc="170" dirty="0" smtClean="0">
                <a:solidFill>
                  <a:srgbClr val="505050"/>
                </a:solidFill>
                <a:latin typeface="Segoe UI Semibold" charset="0"/>
                <a:ea typeface="Segoe UI Semibold" charset="0"/>
                <a:cs typeface="Segoe UI Semibold" charset="0"/>
              </a:defRPr>
            </a:lvl2pPr>
            <a:lvl3pPr>
              <a:defRPr lang="en-US" sz="1200" b="1" kern="1200" spc="170" dirty="0" smtClean="0">
                <a:solidFill>
                  <a:srgbClr val="505050"/>
                </a:solidFill>
                <a:latin typeface="Segoe UI Semibold" charset="0"/>
                <a:ea typeface="Segoe UI Semibold" charset="0"/>
                <a:cs typeface="Segoe UI Semibold" charset="0"/>
              </a:defRPr>
            </a:lvl3pPr>
            <a:lvl4pPr>
              <a:defRPr lang="en-US" sz="1200" b="1" kern="1200" spc="170" dirty="0" smtClean="0">
                <a:solidFill>
                  <a:srgbClr val="505050"/>
                </a:solidFill>
                <a:latin typeface="Segoe UI Semibold" charset="0"/>
                <a:ea typeface="Segoe UI Semibold" charset="0"/>
                <a:cs typeface="Segoe UI Semibold" charset="0"/>
              </a:defRPr>
            </a:lvl4pPr>
            <a:lvl5pPr>
              <a:defRPr lang="en-US" sz="1200" b="1" kern="1200" spc="170" dirty="0">
                <a:solidFill>
                  <a:srgbClr val="505050"/>
                </a:solidFill>
                <a:latin typeface="Segoe UI Semibold" charset="0"/>
                <a:ea typeface="Segoe UI Semibold" charset="0"/>
                <a:cs typeface="Segoe UI Semibold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2001619"/>
      </p:ext>
    </p:extLst>
  </p:cSld>
  <p:clrMapOvr>
    <a:masterClrMapping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E9C9A30-AF21-4061-AAF7-F1550C0E212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-3821"/>
            <a:ext cx="6095999" cy="700320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2BF53E-A85C-4215-A542-5CFED282A8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34937" y="2045659"/>
            <a:ext cx="4763234" cy="1428083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lang="en-US" sz="1600" b="1" kern="1200" dirty="0" smtClean="0">
                <a:ln w="3175">
                  <a:noFill/>
                </a:ln>
                <a:solidFill>
                  <a:srgbClr val="0078D7"/>
                </a:solidFill>
                <a:latin typeface="Segoe UI Semibold" charset="0"/>
                <a:ea typeface="+mn-ea"/>
                <a:cs typeface="Segoe UI Semibold" charset="0"/>
              </a:defRPr>
            </a:lvl1pPr>
            <a:lvl2pPr marL="287283" indent="-28569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dirty="0" smtClean="0">
                <a:solidFill>
                  <a:srgbClr val="505050"/>
                </a:solidFill>
                <a:latin typeface="+mj-lt"/>
                <a:ea typeface="+mn-ea"/>
                <a:cs typeface="Segoe UI" panose="020B0502040204020203" pitchFamily="34" charset="0"/>
              </a:defRPr>
            </a:lvl2pPr>
            <a:lvl3pPr marL="569803" indent="-223795">
              <a:lnSpc>
                <a:spcPct val="100000"/>
              </a:lnSpc>
              <a:buClr>
                <a:schemeClr val="tx2"/>
              </a:buClr>
              <a:defRPr sz="1400"/>
            </a:lvl3pPr>
            <a:lvl4pPr marL="914225" indent="-223795">
              <a:lnSpc>
                <a:spcPct val="100000"/>
              </a:lnSpc>
              <a:buClr>
                <a:schemeClr val="tx2"/>
              </a:buClr>
              <a:defRPr sz="1200"/>
            </a:lvl4pPr>
            <a:lvl5pPr>
              <a:lnSpc>
                <a:spcPct val="100000"/>
              </a:lnSpc>
              <a:buClr>
                <a:schemeClr val="tx2"/>
              </a:buCl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FC24F05B-D917-43E9-8B6D-60449CCE91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4935" y="289512"/>
            <a:ext cx="5581874" cy="899665"/>
          </a:xfrm>
        </p:spPr>
        <p:txBody>
          <a:bodyPr/>
          <a:lstStyle>
            <a:lvl1pPr>
              <a:defRPr lang="en-US" sz="3200" b="0" kern="0" cap="none" spc="49" baseline="0" dirty="0">
                <a:ln w="3175">
                  <a:noFill/>
                </a:ln>
                <a:solidFill>
                  <a:srgbClr val="0078D7"/>
                </a:solidFill>
                <a:effectLst/>
                <a:latin typeface="Segoe UI Semilight" charset="0"/>
                <a:ea typeface="Segoe UI Semilight" charset="0"/>
                <a:cs typeface="Segoe UI Semilight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2314799"/>
      </p:ext>
    </p:extLst>
  </p:cSld>
  <p:clrMapOvr>
    <a:masterClrMapping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10684084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4780989"/>
            <a:ext cx="10682394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4FC6F59-C64A-465E-8411-D0ED37ACDAB2}"/>
              </a:ext>
            </a:extLst>
          </p:cNvPr>
          <p:cNvSpPr txBox="1">
            <a:spLocks/>
          </p:cNvSpPr>
          <p:nvPr userDrawn="1"/>
        </p:nvSpPr>
        <p:spPr>
          <a:xfrm>
            <a:off x="269240" y="-306633"/>
            <a:ext cx="11655840" cy="899665"/>
          </a:xfrm>
          <a:prstGeom prst="rect">
            <a:avLst/>
          </a:prstGeom>
        </p:spPr>
        <p:txBody>
          <a:bodyPr vert="horz" wrap="square" lIns="143428" tIns="89642" rIns="143428" bIns="89642" rtlCol="0" anchor="ctr">
            <a:noAutofit/>
          </a:bodyPr>
          <a:lstStyle>
            <a:lvl1pPr algn="ctr" defTabSz="932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448" b="0" i="0" u="none" strike="noStrike" kern="1200" cap="all" spc="816" normalizeH="0" baseline="0" dirty="0">
                <a:ln w="3175"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 charset="0"/>
                <a:ea typeface="+mn-ea"/>
                <a:cs typeface="Segoe UI Light" charset="0"/>
              </a:defRPr>
            </a:lvl1pPr>
          </a:lstStyle>
          <a:p>
            <a:r>
              <a:rPr lang="en-US" sz="240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352547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07160"/>
            <a:ext cx="11280010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158996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3" y="2629144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4" y="2914178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3" y="3199212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4" y="1774042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4" y="2059076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4" y="2344110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3" y="918940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4" y="1203974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3" y="1489008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4" y="63838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4" y="348872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4" y="633906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3" y="6049552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4" y="6334586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3" y="6619612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4" y="5194450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4" y="5479484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4" y="5764518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3" y="4339348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4" y="4624382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3" y="4909416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4" y="3484246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4" y="3769280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4" y="4054314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363182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4416777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3" y="2629144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4" y="2914178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3" y="3199212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4" y="1774042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4" y="2059076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4" y="2344110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3" y="918940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4" y="1203974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3" y="1489008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4" y="63838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4" y="348872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4" y="633906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3" y="6049552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4" y="6334586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3" y="6619612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4" y="5194450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4" y="5479484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4" y="5764518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3" y="4339348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4" y="4624382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3" y="4909416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4" y="3484246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4" y="3769280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4" y="4054314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9613919"/>
      </p:ext>
    </p:extLst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2" y="3145042"/>
            <a:ext cx="3288506" cy="704445"/>
          </a:xfrm>
          <a:prstGeom prst="rect">
            <a:avLst/>
          </a:prstGeom>
        </p:spPr>
      </p:pic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266127" y="5819469"/>
            <a:ext cx="11659748" cy="888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79234" tIns="143389" rIns="179234" bIns="143389"/>
          <a:lstStyle>
            <a:lvl1pPr>
              <a:defRPr>
                <a:solidFill>
                  <a:schemeClr val="tx1"/>
                </a:solidFill>
                <a:latin typeface="Segoe U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5pPr>
            <a:lvl6pPr marL="25146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6pPr>
            <a:lvl7pPr marL="29718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7pPr>
            <a:lvl8pPr marL="34290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8pPr>
            <a:lvl9pPr marL="38862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9pPr>
          </a:lstStyle>
          <a:p>
            <a:pPr defTabSz="913154" fontAlgn="base">
              <a:lnSpc>
                <a:spcPts val="1174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© 2017 Microsoft Corporation. All rights reserved. Microsoft, Windows, and other product names are or may be registered trademarks and/or trademarks in the U.S. and/or other countries.</a:t>
            </a:r>
          </a:p>
          <a:p>
            <a:pPr defTabSz="913154" fontAlgn="base">
              <a:lnSpc>
                <a:spcPts val="1174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The information herein is for informational purposes only and represents the current view of Microsoft Corporation as of the date of this presentation. Because Microsoft must respond to changing market</a:t>
            </a:r>
          </a:p>
          <a:p>
            <a:pPr defTabSz="913154" fontAlgn="base">
              <a:lnSpc>
                <a:spcPts val="1174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conditions, it should not be interpreted to be a commitment on the part of Microsoft, and Microsoft cannot guarantee the accuracy of any information provided after the date of this presentation.</a:t>
            </a:r>
          </a:p>
          <a:p>
            <a:pPr defTabSz="913154" fontAlgn="base">
              <a:lnSpc>
                <a:spcPts val="1174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329293077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5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916450756"/>
      </p:ext>
    </p:extLst>
  </p:cSld>
  <p:clrMapOvr>
    <a:masterClrMapping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02461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15268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body slide (with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302551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2pt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BF94EA65-2CBF-4A04-9D22-169D8572F34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6423" y="991608"/>
            <a:ext cx="11339774" cy="27159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1274"/>
              </a:spcAft>
              <a:buNone/>
              <a:defRPr sz="1961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90000"/>
              </a:lnSpc>
              <a:spcBef>
                <a:spcPts val="0"/>
              </a:spcBef>
              <a:spcAft>
                <a:spcPts val="1274"/>
              </a:spcAft>
              <a:buNone/>
              <a:defRPr sz="1961">
                <a:solidFill>
                  <a:schemeClr val="tx2"/>
                </a:solidFill>
              </a:defRPr>
            </a:lvl2pPr>
            <a:lvl3pPr marL="448193" indent="0">
              <a:spcBef>
                <a:spcPts val="0"/>
              </a:spcBef>
              <a:spcAft>
                <a:spcPts val="1274"/>
              </a:spcAft>
              <a:buNone/>
              <a:defRPr sz="1961"/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title Segoe UI</a:t>
            </a:r>
          </a:p>
        </p:txBody>
      </p:sp>
    </p:spTree>
    <p:extLst>
      <p:ext uri="{BB962C8B-B14F-4D97-AF65-F5344CB8AC3E}">
        <p14:creationId xmlns:p14="http://schemas.microsoft.com/office/powerpoint/2010/main" val="1760082910"/>
      </p:ext>
    </p:extLst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body slide (with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5" y="302551"/>
            <a:ext cx="7586360" cy="758022"/>
          </a:xfrm>
          <a:prstGeom prst="rect">
            <a:avLst/>
          </a:prstGeom>
        </p:spPr>
        <p:txBody>
          <a:bodyPr vert="horz" wrap="square" lIns="9144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2pt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BF94EA65-2CBF-4A04-9D22-169D8572F34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6423" y="991608"/>
            <a:ext cx="7588860" cy="271592"/>
          </a:xfrm>
        </p:spPr>
        <p:txBody>
          <a:bodyPr wrap="square" lIns="91440" tIns="0" rIns="0" b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1273"/>
              </a:spcAft>
              <a:buNone/>
              <a:defRPr sz="1961" b="0" i="0">
                <a:solidFill>
                  <a:srgbClr val="000000"/>
                </a:solidFill>
                <a:latin typeface="+mn-lt"/>
              </a:defRPr>
            </a:lvl1pPr>
            <a:lvl2pPr marL="224054" indent="0">
              <a:lnSpc>
                <a:spcPct val="90000"/>
              </a:lnSpc>
              <a:spcBef>
                <a:spcPts val="0"/>
              </a:spcBef>
              <a:spcAft>
                <a:spcPts val="1273"/>
              </a:spcAft>
              <a:buNone/>
              <a:defRPr sz="1961">
                <a:solidFill>
                  <a:schemeClr val="tx2"/>
                </a:solidFill>
              </a:defRPr>
            </a:lvl2pPr>
            <a:lvl3pPr marL="448107" indent="0">
              <a:spcBef>
                <a:spcPts val="0"/>
              </a:spcBef>
              <a:spcAft>
                <a:spcPts val="1273"/>
              </a:spcAft>
              <a:buNone/>
              <a:defRPr sz="1961"/>
            </a:lvl3pPr>
            <a:lvl4pPr marL="672161" indent="0">
              <a:spcBef>
                <a:spcPts val="0"/>
              </a:spcBef>
              <a:spcAft>
                <a:spcPts val="1273"/>
              </a:spcAft>
              <a:buNone/>
              <a:defRPr sz="1961"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title Segoe UI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7626C7-7042-4BA3-8CEC-E87FE515C1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2145841"/>
            <a:ext cx="7586360" cy="829458"/>
          </a:xfrm>
        </p:spPr>
        <p:txBody>
          <a:bodyPr wrap="square" lIns="91440" tIns="0" rIns="0" b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988"/>
              </a:spcAft>
              <a:buNone/>
              <a:defRPr sz="1800" b="0" i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488"/>
              </a:spcAft>
              <a:buNone/>
              <a:defRPr sz="160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spcAft>
                <a:spcPts val="1273"/>
              </a:spcAft>
              <a:buNone/>
              <a:defRPr sz="1200" spc="20" baseline="0">
                <a:solidFill>
                  <a:schemeClr val="tx1"/>
                </a:solidFill>
                <a:latin typeface="+mj-lt"/>
              </a:defRPr>
            </a:lvl3pPr>
            <a:lvl4pPr marL="672161" indent="0">
              <a:spcBef>
                <a:spcPts val="0"/>
              </a:spcBef>
              <a:spcAft>
                <a:spcPts val="1273"/>
              </a:spcAft>
              <a:buNone/>
              <a:defRPr sz="1961"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First level Segoe UI 24pt</a:t>
            </a:r>
          </a:p>
          <a:p>
            <a:pPr lvl="1"/>
            <a:r>
              <a:rPr lang="en-US"/>
              <a:t>Second level Segoe UI 16pt</a:t>
            </a:r>
          </a:p>
          <a:p>
            <a:pPr lvl="2"/>
            <a:r>
              <a:rPr lang="en-US"/>
              <a:t>THIRD LEVEL SEGOE UI 12PT</a:t>
            </a:r>
          </a:p>
        </p:txBody>
      </p:sp>
    </p:spTree>
    <p:extLst>
      <p:ext uri="{BB962C8B-B14F-4D97-AF65-F5344CB8AC3E}">
        <p14:creationId xmlns:p14="http://schemas.microsoft.com/office/powerpoint/2010/main" val="401338494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43072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856967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7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8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0338763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76526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84172"/>
            <a:ext cx="5378485" cy="2502861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4587048"/>
            <a:ext cx="5378486" cy="1793104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12" name="Group 11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5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311" y="0"/>
            <a:ext cx="60948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4821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4EE8BA-73AB-488A-932B-749616E9FC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8D43F-5135-4472-B33B-8C265EA397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8F6CD9-B2EC-4F4B-A6B5-994A22B15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F3AE2-76F0-4389-A58B-213888197306}" type="datetimeFigureOut">
              <a:rPr lang="en-US" smtClean="0"/>
              <a:t>11/1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2D26E2-89FD-43B0-A49D-77B1D11706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761D43-BA67-4F0A-B04C-F9CE12E825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7F004-A6FC-47C3-8D33-E6DA188563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6084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1F61B9-7524-4B03-8E38-50067D6FC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171401-D9C6-412A-97C7-F8DCACD761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8B2284-371E-4AB9-893F-E8EDB46212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F3AE2-76F0-4389-A58B-213888197306}" type="datetimeFigureOut">
              <a:rPr lang="en-US" smtClean="0"/>
              <a:t>11/1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D7710E-97DB-40D8-9F68-B05384AFEF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590BBB-1C84-49F1-9FC5-79FB19E853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7F004-A6FC-47C3-8D33-E6DA188563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2668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C1980C-6F43-42AD-850F-26BFDFABAC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6E21D5-6591-488E-B43B-AFF8481EA1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BA41DE-A3BF-4E69-8565-97B7B5BBC6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F3AE2-76F0-4389-A58B-213888197306}" type="datetimeFigureOut">
              <a:rPr lang="en-US" smtClean="0"/>
              <a:t>11/1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A1DBC9-5A01-4ADC-9789-A12E63E72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A95850-0885-48F5-B8F8-E23F731047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7F004-A6FC-47C3-8D33-E6DA188563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282590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262067-7C5A-448F-93A2-F410F77B40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FCC6D3-FE4F-44C6-801E-536CAAE5EF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C9327E-3042-42D7-AF9C-2D1E86FA09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885F7F7-1557-4659-8773-96757DA699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F3AE2-76F0-4389-A58B-213888197306}" type="datetimeFigureOut">
              <a:rPr lang="en-US" smtClean="0"/>
              <a:t>11/12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CA3824B-F850-4418-BA72-DC33A71D7E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33679-2808-4615-A237-9B638D1E2F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7F004-A6FC-47C3-8D33-E6DA188563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8056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E31D52-A5B1-4DD7-8105-84B1115B03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F81881-190D-490F-BE51-252BE4676A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4E5A4AD-8F52-4F33-8063-2DB7A4FF396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72938D-9AB4-4A64-8642-79C16D66937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6E4FE90-2855-465D-BF84-5C9699B166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19241D2-86C7-48E0-B66B-2FC3AF9183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F3AE2-76F0-4389-A58B-213888197306}" type="datetimeFigureOut">
              <a:rPr lang="en-US" smtClean="0"/>
              <a:t>11/12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729EE49-B5B8-4CA3-AC07-B58D901E39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D547A7D-DAD5-4CCA-9E3A-F5471500C3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7F004-A6FC-47C3-8D33-E6DA188563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03000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CEAE55-FE01-4A2B-A2DC-F82280255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AD1579-99B5-44A2-B96E-47489D9930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F3AE2-76F0-4389-A58B-213888197306}" type="datetimeFigureOut">
              <a:rPr lang="en-US" smtClean="0"/>
              <a:t>11/12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3859FF-54A8-43C8-BE37-2F83CF89ED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A62060-442A-47D1-B504-84893A4089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7F004-A6FC-47C3-8D33-E6DA188563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8180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EB851F2-2345-404E-A303-C1B030B9E1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F3AE2-76F0-4389-A58B-213888197306}" type="datetimeFigureOut">
              <a:rPr lang="en-US" smtClean="0"/>
              <a:t>11/12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FE7E0E-39B4-43F7-960A-2E3948C7E9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2BEF65-D1CF-4766-BC2A-EC782689F6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7F004-A6FC-47C3-8D33-E6DA188563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67733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9B2562-EBFF-4189-A1C9-7B24066A06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C20C2F-5253-4910-A242-E45AC7B55C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E11107-711F-4229-BEC5-C64A27E75D3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CCF461-E4C8-4E9C-B509-EFC3E40B3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F3AE2-76F0-4389-A58B-213888197306}" type="datetimeFigureOut">
              <a:rPr lang="en-US" smtClean="0"/>
              <a:t>11/12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72DAAC0-6F51-44ED-8A41-747502755E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5212ECD-D6D8-4F5E-A042-8B3417E846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7F004-A6FC-47C3-8D33-E6DA188563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83770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E65AFB-4B77-4DD7-995D-C8162A5E3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C83CBB-A87C-4DB4-B9DC-2C0636C9E44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234137-19C6-44D8-BEE0-0066EA8A94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D4A2C18-AC06-417B-8B9F-9A752CCA70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F3AE2-76F0-4389-A58B-213888197306}" type="datetimeFigureOut">
              <a:rPr lang="en-US" smtClean="0"/>
              <a:t>11/12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C8980B7-077A-44D8-8A9A-9AF26DA3AB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6044E1-7AC9-4BC6-8B34-B2CA498D58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7F004-A6FC-47C3-8D33-E6DA188563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7614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5A3B6E-0D55-4C01-8665-761E31531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4766CE7-2E83-4055-BE50-7C097BC1557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33826D-BEA2-4D6D-A4C5-B752AA7692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F3AE2-76F0-4389-A58B-213888197306}" type="datetimeFigureOut">
              <a:rPr lang="en-US" smtClean="0"/>
              <a:t>11/1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7329B4-1DFD-4175-B668-398D6A3E11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95ECAF-1314-4F12-984D-10DA456A90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7F004-A6FC-47C3-8D33-E6DA188563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9925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15852672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4E721A5-8739-409D-96C0-356AEC16658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77F32DB-9F73-4974-90A5-DCA36A790FE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BE4997-4F76-490B-BE1E-ECF619C74E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F3AE2-76F0-4389-A58B-213888197306}" type="datetimeFigureOut">
              <a:rPr lang="en-US" smtClean="0"/>
              <a:t>11/1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5B6674-61BE-44AF-9E1B-34C88CC4DC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31202A-E0E4-4D24-B549-D23CB60E61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7F004-A6FC-47C3-8D33-E6DA188563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649182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8169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 bwMode="gray">
      <p:bgPr>
        <a:solidFill>
          <a:srgbClr val="E6EB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40F21EC-5904-4953-B304-70611CCCDE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818" y="0"/>
            <a:ext cx="12192000" cy="6858973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27C98F7C-91B3-42AC-A5E6-C0D7EB42154E}"/>
              </a:ext>
            </a:extLst>
          </p:cNvPr>
          <p:cNvSpPr/>
          <p:nvPr userDrawn="1"/>
        </p:nvSpPr>
        <p:spPr bwMode="gray">
          <a:xfrm>
            <a:off x="-15725" y="0"/>
            <a:ext cx="5983818" cy="6858000"/>
          </a:xfrm>
          <a:prstGeom prst="rect">
            <a:avLst/>
          </a:prstGeom>
          <a:solidFill>
            <a:srgbClr val="000000">
              <a:alpha val="55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08" tIns="143366" rIns="179208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65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B9532AFA-78E5-4324-9D56-4D4CE7440E2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EE7D0842-89C9-4B62-8E7E-CD55867316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>
                <a:gradFill>
                  <a:gsLst>
                    <a:gs pos="8333">
                      <a:schemeClr val="bg1"/>
                    </a:gs>
                    <a:gs pos="26000">
                      <a:schemeClr val="bg1"/>
                    </a:gs>
                  </a:gsLst>
                  <a:lin ang="5400000" scaled="1"/>
                </a:gradFill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12B2AD1-076F-40BF-98F1-311E3BBCE5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3855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200" spc="0" baseline="0">
                <a:gradFill>
                  <a:gsLst>
                    <a:gs pos="8333">
                      <a:schemeClr val="bg1"/>
                    </a:gs>
                    <a:gs pos="26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</p:spTree>
    <p:extLst>
      <p:ext uri="{BB962C8B-B14F-4D97-AF65-F5344CB8AC3E}">
        <p14:creationId xmlns:p14="http://schemas.microsoft.com/office/powerpoint/2010/main" val="5652623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38F91980-4640-4420-B101-C9BEC37A107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9E379F3-BC61-44ED-8F9B-54F8B85025ED}"/>
              </a:ext>
            </a:extLst>
          </p:cNvPr>
          <p:cNvSpPr txBox="1"/>
          <p:nvPr userDrawn="1"/>
        </p:nvSpPr>
        <p:spPr>
          <a:xfrm>
            <a:off x="586581" y="4218495"/>
            <a:ext cx="185146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>
                <a:gradFill>
                  <a:gsLst>
                    <a:gs pos="80176">
                      <a:schemeClr val="tx1"/>
                    </a:gs>
                    <a:gs pos="68282">
                      <a:schemeClr val="tx1"/>
                    </a:gs>
                  </a:gsLst>
                  <a:lin ang="5400000" scaled="0"/>
                </a:gradFill>
              </a:rPr>
              <a:t>July 18–20, 2018</a:t>
            </a:r>
          </a:p>
          <a:p>
            <a:pPr algn="l"/>
            <a:r>
              <a:rPr lang="en-US" sz="2000">
                <a:gradFill>
                  <a:gsLst>
                    <a:gs pos="80176">
                      <a:schemeClr val="tx1"/>
                    </a:gs>
                    <a:gs pos="68282">
                      <a:schemeClr val="tx1"/>
                    </a:gs>
                  </a:gsLst>
                  <a:lin ang="5400000" scaled="0"/>
                </a:gradFill>
              </a:rPr>
              <a:t>Las Vegas, NV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7ADB113-B00E-4752-81DB-AE332342DD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87" t="16931" r="33333" b="24211"/>
          <a:stretch/>
        </p:blipFill>
        <p:spPr bwMode="black">
          <a:xfrm>
            <a:off x="5098119" y="585788"/>
            <a:ext cx="7093880" cy="627221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EAA312A-DD58-46FD-BCDC-F49B62DD9C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black">
          <a:xfrm>
            <a:off x="584200" y="2322537"/>
            <a:ext cx="3012187" cy="152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8627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sitting in front of a crowd&#10;&#10;Description generated with very high confidence">
            <a:extLst>
              <a:ext uri="{FF2B5EF4-FFF2-40B4-BE49-F238E27FC236}">
                <a16:creationId xmlns:a16="http://schemas.microsoft.com/office/drawing/2014/main" id="{ADC57F9E-658E-424C-9EF1-3587089C95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4583" t="10804" r="39161" b="19692"/>
          <a:stretch/>
        </p:blipFill>
        <p:spPr>
          <a:xfrm>
            <a:off x="5333998" y="0"/>
            <a:ext cx="6858001" cy="6858000"/>
          </a:xfrm>
          <a:prstGeom prst="rect">
            <a:avLst/>
          </a:prstGeom>
        </p:spPr>
      </p:pic>
      <p:pic>
        <p:nvPicPr>
          <p:cNvPr id="10" name="MS logo gray - EMF" descr="Microsoft logo, gray text version">
            <a:extLst>
              <a:ext uri="{FF2B5EF4-FFF2-40B4-BE49-F238E27FC236}">
                <a16:creationId xmlns:a16="http://schemas.microsoft.com/office/drawing/2014/main" id="{B802B7FF-9FAE-427A-B679-4364FE2DB5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731E8BB-BB76-41F9-856D-368DE9900663}"/>
              </a:ext>
            </a:extLst>
          </p:cNvPr>
          <p:cNvSpPr txBox="1"/>
          <p:nvPr userDrawn="1"/>
        </p:nvSpPr>
        <p:spPr>
          <a:xfrm>
            <a:off x="586581" y="4219064"/>
            <a:ext cx="185146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>
                <a:gradFill>
                  <a:gsLst>
                    <a:gs pos="82234">
                      <a:schemeClr val="accent2"/>
                    </a:gs>
                    <a:gs pos="68282">
                      <a:schemeClr val="accent2"/>
                    </a:gs>
                  </a:gsLst>
                  <a:lin ang="5400000" scaled="0"/>
                </a:gradFill>
              </a:rPr>
              <a:t>July 18–20, 2018</a:t>
            </a:r>
          </a:p>
          <a:p>
            <a:pPr algn="l"/>
            <a:r>
              <a:rPr lang="en-US" sz="2000">
                <a:gradFill>
                  <a:gsLst>
                    <a:gs pos="82234">
                      <a:schemeClr val="accent2"/>
                    </a:gs>
                    <a:gs pos="68282">
                      <a:schemeClr val="accent2"/>
                    </a:gs>
                  </a:gsLst>
                  <a:lin ang="5400000" scaled="0"/>
                </a:gradFill>
              </a:rPr>
              <a:t>Las Vegas, NV</a:t>
            </a:r>
          </a:p>
        </p:txBody>
      </p:sp>
      <p:pic>
        <p:nvPicPr>
          <p:cNvPr id="13" name="Picture 12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29E6D70F-8056-4653-91E4-BE7FAAFEBA5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4200" y="2322537"/>
            <a:ext cx="3012188" cy="152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4988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76BBF407-647E-4A0E-932C-4B9EBA6AC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08988" y="589607"/>
            <a:ext cx="3200400" cy="457200"/>
          </a:xfrm>
        </p:spPr>
        <p:txBody>
          <a:bodyPr lIns="0" tIns="0" rIns="0" bIns="0"/>
          <a:lstStyle>
            <a:lvl1pPr marL="0" indent="0" algn="r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/>
              <a:t>Session code</a:t>
            </a:r>
          </a:p>
        </p:txBody>
      </p:sp>
      <p:pic>
        <p:nvPicPr>
          <p:cNvPr id="8" name="MS logo white - EMF" descr="Microsoft logo white text version">
            <a:extLst>
              <a:ext uri="{FF2B5EF4-FFF2-40B4-BE49-F238E27FC236}">
                <a16:creationId xmlns:a16="http://schemas.microsoft.com/office/drawing/2014/main" id="{F4DDC873-B78F-4A52-9091-6AB1225F43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579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165361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699897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45269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538395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619230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56672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55415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309977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762503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56917751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4644831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4507974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12648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12648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557066C-5133-4E22-AE58-F2101DA24D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87" t="16931" r="33333" b="24211"/>
          <a:stretch/>
        </p:blipFill>
        <p:spPr bwMode="invGray">
          <a:xfrm>
            <a:off x="5098119" y="585788"/>
            <a:ext cx="7093880" cy="6272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6345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126480" cy="498598"/>
          </a:xfrm>
          <a:noFill/>
        </p:spPr>
        <p:txBody>
          <a:bodyPr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AC853EF-249B-4DEC-B679-038CCEA0B9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87" t="16931" r="33333" b="24211"/>
          <a:stretch/>
        </p:blipFill>
        <p:spPr bwMode="invGray">
          <a:xfrm>
            <a:off x="5098119" y="585788"/>
            <a:ext cx="7093880" cy="6272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3972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1397" cy="498598"/>
          </a:xfrm>
          <a:noFill/>
        </p:spPr>
        <p:txBody>
          <a:bodyPr wrap="square"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202316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3057030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54097" cy="498598"/>
          </a:xfrm>
          <a:noFill/>
        </p:spPr>
        <p:txBody>
          <a:bodyPr wrap="square"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0452210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78066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31237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nfidentiality slid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D07666-5C5E-4C40-8C68-86D1F3CAB0C5}"/>
              </a:ext>
            </a:extLst>
          </p:cNvPr>
          <p:cNvSpPr txBox="1"/>
          <p:nvPr userDrawn="1"/>
        </p:nvSpPr>
        <p:spPr>
          <a:xfrm>
            <a:off x="584200" y="4173080"/>
            <a:ext cx="11022584" cy="2095958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icrosoft Ready content is </a:t>
            </a:r>
            <a:r>
              <a:rPr lang="en-US" sz="2000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icrosoft Confidential – Internal only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st Microsoft Ready content to any blogs or external websites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ake photos or video of sessions or slides throughout the Microsoft Ready event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tent will be available to internal audiences on-demand post-event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A6B1A30E-72AA-4A8F-A97F-FD4B4989FC97}"/>
              </a:ext>
            </a:extLst>
          </p:cNvPr>
          <p:cNvSpPr/>
          <p:nvPr userDrawn="1"/>
        </p:nvSpPr>
        <p:spPr bwMode="gray">
          <a:xfrm>
            <a:off x="2697102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86F400F5-9FA0-4CE6-B207-5F2FF50C7927}"/>
              </a:ext>
            </a:extLst>
          </p:cNvPr>
          <p:cNvSpPr/>
          <p:nvPr userDrawn="1"/>
        </p:nvSpPr>
        <p:spPr bwMode="gray">
          <a:xfrm>
            <a:off x="5318069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R="0" lvl="0" indent="0" algn="ctr" defTabSz="9321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BA797159-0B2F-4995-81D8-EBFFD05AB617}"/>
              </a:ext>
            </a:extLst>
          </p:cNvPr>
          <p:cNvGrpSpPr/>
          <p:nvPr userDrawn="1"/>
        </p:nvGrpSpPr>
        <p:grpSpPr bwMode="gray">
          <a:xfrm flipH="1">
            <a:off x="5901486" y="2178437"/>
            <a:ext cx="436044" cy="827404"/>
            <a:chOff x="5200650" y="1722438"/>
            <a:chExt cx="1797050" cy="3409950"/>
          </a:xfrm>
        </p:grpSpPr>
        <p:sp>
          <p:nvSpPr>
            <p:cNvPr id="105" name="Freeform 26">
              <a:extLst>
                <a:ext uri="{FF2B5EF4-FFF2-40B4-BE49-F238E27FC236}">
                  <a16:creationId xmlns:a16="http://schemas.microsoft.com/office/drawing/2014/main" id="{D5EE552A-CFE9-4D35-BDE3-A939AA559C2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200650" y="1722438"/>
              <a:ext cx="1797050" cy="3409950"/>
            </a:xfrm>
            <a:custGeom>
              <a:avLst/>
              <a:gdLst>
                <a:gd name="T0" fmla="*/ 497 w 543"/>
                <a:gd name="T1" fmla="*/ 0 h 1030"/>
                <a:gd name="T2" fmla="*/ 46 w 543"/>
                <a:gd name="T3" fmla="*/ 0 h 1030"/>
                <a:gd name="T4" fmla="*/ 0 w 543"/>
                <a:gd name="T5" fmla="*/ 46 h 1030"/>
                <a:gd name="T6" fmla="*/ 0 w 543"/>
                <a:gd name="T7" fmla="*/ 983 h 1030"/>
                <a:gd name="T8" fmla="*/ 46 w 543"/>
                <a:gd name="T9" fmla="*/ 1030 h 1030"/>
                <a:gd name="T10" fmla="*/ 497 w 543"/>
                <a:gd name="T11" fmla="*/ 1030 h 1030"/>
                <a:gd name="T12" fmla="*/ 543 w 543"/>
                <a:gd name="T13" fmla="*/ 983 h 1030"/>
                <a:gd name="T14" fmla="*/ 543 w 543"/>
                <a:gd name="T15" fmla="*/ 46 h 1030"/>
                <a:gd name="T16" fmla="*/ 497 w 543"/>
                <a:gd name="T17" fmla="*/ 0 h 1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3" h="1030">
                  <a:moveTo>
                    <a:pt x="497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21" y="0"/>
                    <a:pt x="0" y="21"/>
                    <a:pt x="0" y="46"/>
                  </a:cubicBezTo>
                  <a:cubicBezTo>
                    <a:pt x="0" y="983"/>
                    <a:pt x="0" y="983"/>
                    <a:pt x="0" y="983"/>
                  </a:cubicBezTo>
                  <a:cubicBezTo>
                    <a:pt x="0" y="1009"/>
                    <a:pt x="21" y="1030"/>
                    <a:pt x="46" y="1030"/>
                  </a:cubicBezTo>
                  <a:cubicBezTo>
                    <a:pt x="497" y="1030"/>
                    <a:pt x="497" y="1030"/>
                    <a:pt x="497" y="1030"/>
                  </a:cubicBezTo>
                  <a:cubicBezTo>
                    <a:pt x="522" y="1030"/>
                    <a:pt x="543" y="1009"/>
                    <a:pt x="543" y="983"/>
                  </a:cubicBezTo>
                  <a:cubicBezTo>
                    <a:pt x="543" y="46"/>
                    <a:pt x="543" y="46"/>
                    <a:pt x="543" y="46"/>
                  </a:cubicBezTo>
                  <a:cubicBezTo>
                    <a:pt x="543" y="21"/>
                    <a:pt x="522" y="0"/>
                    <a:pt x="497" y="0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6" name="Freeform 27">
              <a:extLst>
                <a:ext uri="{FF2B5EF4-FFF2-40B4-BE49-F238E27FC236}">
                  <a16:creationId xmlns:a16="http://schemas.microsoft.com/office/drawing/2014/main" id="{62561F91-9D8C-4635-B806-AE2D1119614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310188" y="2262188"/>
              <a:ext cx="1577975" cy="2433638"/>
            </a:xfrm>
            <a:custGeom>
              <a:avLst/>
              <a:gdLst>
                <a:gd name="T0" fmla="*/ 0 w 994"/>
                <a:gd name="T1" fmla="*/ 1533 h 1533"/>
                <a:gd name="T2" fmla="*/ 994 w 994"/>
                <a:gd name="T3" fmla="*/ 1533 h 1533"/>
                <a:gd name="T4" fmla="*/ 994 w 994"/>
                <a:gd name="T5" fmla="*/ 62 h 1533"/>
                <a:gd name="T6" fmla="*/ 498 w 994"/>
                <a:gd name="T7" fmla="*/ 0 h 1533"/>
                <a:gd name="T8" fmla="*/ 0 w 994"/>
                <a:gd name="T9" fmla="*/ 62 h 1533"/>
                <a:gd name="T10" fmla="*/ 0 w 994"/>
                <a:gd name="T11" fmla="*/ 1533 h 1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4" h="1533">
                  <a:moveTo>
                    <a:pt x="0" y="1533"/>
                  </a:moveTo>
                  <a:lnTo>
                    <a:pt x="994" y="1533"/>
                  </a:lnTo>
                  <a:lnTo>
                    <a:pt x="994" y="62"/>
                  </a:lnTo>
                  <a:lnTo>
                    <a:pt x="498" y="0"/>
                  </a:lnTo>
                  <a:lnTo>
                    <a:pt x="0" y="62"/>
                  </a:lnTo>
                  <a:lnTo>
                    <a:pt x="0" y="1533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7" name="Rectangle 28">
              <a:extLst>
                <a:ext uri="{FF2B5EF4-FFF2-40B4-BE49-F238E27FC236}">
                  <a16:creationId xmlns:a16="http://schemas.microsoft.com/office/drawing/2014/main" id="{71C38A4E-A7CA-4FC4-B76A-394814BBAD3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310188" y="2006601"/>
              <a:ext cx="1577975" cy="3540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08" name="Rectangle 29">
              <a:extLst>
                <a:ext uri="{FF2B5EF4-FFF2-40B4-BE49-F238E27FC236}">
                  <a16:creationId xmlns:a16="http://schemas.microsoft.com/office/drawing/2014/main" id="{0EB3CFB9-1B4F-40C4-8527-07696A24C42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942013" y="3522663"/>
              <a:ext cx="804863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9" name="Rectangle 30">
              <a:extLst>
                <a:ext uri="{FF2B5EF4-FFF2-40B4-BE49-F238E27FC236}">
                  <a16:creationId xmlns:a16="http://schemas.microsoft.com/office/drawing/2014/main" id="{A6E51830-661E-42FF-A82A-D30745B76D1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3689351"/>
              <a:ext cx="1327150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0" name="Rectangle 31">
              <a:extLst>
                <a:ext uri="{FF2B5EF4-FFF2-40B4-BE49-F238E27FC236}">
                  <a16:creationId xmlns:a16="http://schemas.microsoft.com/office/drawing/2014/main" id="{95201EB4-D463-4472-9390-C70DD9F565C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3851276"/>
              <a:ext cx="1327150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1" name="Rectangle 32">
              <a:extLst>
                <a:ext uri="{FF2B5EF4-FFF2-40B4-BE49-F238E27FC236}">
                  <a16:creationId xmlns:a16="http://schemas.microsoft.com/office/drawing/2014/main" id="{B130CDDD-D0C4-4E72-B76C-DB984523826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4013201"/>
              <a:ext cx="730250" cy="4286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Rectangle 33">
              <a:extLst>
                <a:ext uri="{FF2B5EF4-FFF2-40B4-BE49-F238E27FC236}">
                  <a16:creationId xmlns:a16="http://schemas.microsoft.com/office/drawing/2014/main" id="{65FB6058-8B32-4371-95BE-A2B310C6B8F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4178301"/>
              <a:ext cx="1327150" cy="365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3" name="Rectangle 34">
              <a:extLst>
                <a:ext uri="{FF2B5EF4-FFF2-40B4-BE49-F238E27FC236}">
                  <a16:creationId xmlns:a16="http://schemas.microsoft.com/office/drawing/2014/main" id="{FB2303C7-0661-4CF0-B491-D2E9D47EE15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149975" y="4341813"/>
              <a:ext cx="596900" cy="365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4" name="Rectangle 35">
              <a:extLst>
                <a:ext uri="{FF2B5EF4-FFF2-40B4-BE49-F238E27FC236}">
                  <a16:creationId xmlns:a16="http://schemas.microsoft.com/office/drawing/2014/main" id="{C3FA6748-9371-4617-9A5E-AEF6112AB5D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932488" y="2509838"/>
              <a:ext cx="836613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5" name="Rectangle 36">
              <a:extLst>
                <a:ext uri="{FF2B5EF4-FFF2-40B4-BE49-F238E27FC236}">
                  <a16:creationId xmlns:a16="http://schemas.microsoft.com/office/drawing/2014/main" id="{22819134-DC28-4E40-9A2C-B052D6FE6E7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29250" y="2509838"/>
              <a:ext cx="171450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6" name="Rectangle 37">
              <a:extLst>
                <a:ext uri="{FF2B5EF4-FFF2-40B4-BE49-F238E27FC236}">
                  <a16:creationId xmlns:a16="http://schemas.microsoft.com/office/drawing/2014/main" id="{A8AB1BAE-A549-4C2D-90AE-29E7A84F30C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680075" y="2509838"/>
              <a:ext cx="173038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7" name="Rectangle 38">
              <a:extLst>
                <a:ext uri="{FF2B5EF4-FFF2-40B4-BE49-F238E27FC236}">
                  <a16:creationId xmlns:a16="http://schemas.microsoft.com/office/drawing/2014/main" id="{6BB21AAD-BEBD-464D-9425-DFCE1A81021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125663"/>
              <a:ext cx="152400" cy="142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Rectangle 39">
              <a:extLst>
                <a:ext uri="{FF2B5EF4-FFF2-40B4-BE49-F238E27FC236}">
                  <a16:creationId xmlns:a16="http://schemas.microsoft.com/office/drawing/2014/main" id="{82C133A5-90DA-4452-B1C2-96A28D1B3B2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168526"/>
              <a:ext cx="152400" cy="142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40">
              <a:extLst>
                <a:ext uri="{FF2B5EF4-FFF2-40B4-BE49-F238E27FC236}">
                  <a16:creationId xmlns:a16="http://schemas.microsoft.com/office/drawing/2014/main" id="{9EC959C0-2ED1-429D-9343-6B03D72EC2D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216151"/>
              <a:ext cx="152400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Rectangle 41">
              <a:extLst>
                <a:ext uri="{FF2B5EF4-FFF2-40B4-BE49-F238E27FC236}">
                  <a16:creationId xmlns:a16="http://schemas.microsoft.com/office/drawing/2014/main" id="{27EB350B-78EC-4CE4-9803-6981B8ABF25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027738" y="4837113"/>
              <a:ext cx="142875" cy="14605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21" name="Freeform 42">
              <a:extLst>
                <a:ext uri="{FF2B5EF4-FFF2-40B4-BE49-F238E27FC236}">
                  <a16:creationId xmlns:a16="http://schemas.microsoft.com/office/drawing/2014/main" id="{E19CD1BB-BAEF-4D84-8870-955840A2D73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783263" y="1841501"/>
              <a:ext cx="631825" cy="36513"/>
            </a:xfrm>
            <a:custGeom>
              <a:avLst/>
              <a:gdLst>
                <a:gd name="T0" fmla="*/ 185 w 191"/>
                <a:gd name="T1" fmla="*/ 11 h 11"/>
                <a:gd name="T2" fmla="*/ 6 w 191"/>
                <a:gd name="T3" fmla="*/ 11 h 11"/>
                <a:gd name="T4" fmla="*/ 0 w 191"/>
                <a:gd name="T5" fmla="*/ 6 h 11"/>
                <a:gd name="T6" fmla="*/ 6 w 191"/>
                <a:gd name="T7" fmla="*/ 0 h 11"/>
                <a:gd name="T8" fmla="*/ 185 w 191"/>
                <a:gd name="T9" fmla="*/ 0 h 11"/>
                <a:gd name="T10" fmla="*/ 191 w 191"/>
                <a:gd name="T11" fmla="*/ 6 h 11"/>
                <a:gd name="T12" fmla="*/ 185 w 191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11">
                  <a:moveTo>
                    <a:pt x="185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9" y="0"/>
                    <a:pt x="191" y="2"/>
                    <a:pt x="191" y="6"/>
                  </a:cubicBezTo>
                  <a:cubicBezTo>
                    <a:pt x="191" y="9"/>
                    <a:pt x="189" y="11"/>
                    <a:pt x="185" y="11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22" name="Rectangle 43">
              <a:extLst>
                <a:ext uri="{FF2B5EF4-FFF2-40B4-BE49-F238E27FC236}">
                  <a16:creationId xmlns:a16="http://schemas.microsoft.com/office/drawing/2014/main" id="{AB3A5491-F398-47CB-BBBC-35E96F4E414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29250" y="2722563"/>
              <a:ext cx="1339850" cy="62865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</p:grpSp>
      <p:sp>
        <p:nvSpPr>
          <p:cNvPr id="149" name="Oval 148">
            <a:extLst>
              <a:ext uri="{FF2B5EF4-FFF2-40B4-BE49-F238E27FC236}">
                <a16:creationId xmlns:a16="http://schemas.microsoft.com/office/drawing/2014/main" id="{88B05F2C-2F66-43AA-A9E2-803B1F843606}"/>
              </a:ext>
            </a:extLst>
          </p:cNvPr>
          <p:cNvSpPr/>
          <p:nvPr userDrawn="1"/>
        </p:nvSpPr>
        <p:spPr bwMode="gray">
          <a:xfrm>
            <a:off x="7892021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R="0" lvl="0" indent="0" algn="ctr" defTabSz="9321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E88D9ECD-A4C6-4CFD-BE83-83D944C0F97B}"/>
              </a:ext>
            </a:extLst>
          </p:cNvPr>
          <p:cNvGrpSpPr/>
          <p:nvPr userDrawn="1"/>
        </p:nvGrpSpPr>
        <p:grpSpPr bwMode="gray">
          <a:xfrm>
            <a:off x="8118306" y="2286842"/>
            <a:ext cx="1150309" cy="610594"/>
            <a:chOff x="6151563" y="1584325"/>
            <a:chExt cx="4276725" cy="2270126"/>
          </a:xfrm>
        </p:grpSpPr>
        <p:sp>
          <p:nvSpPr>
            <p:cNvPr id="129" name="Rectangle 47">
              <a:extLst>
                <a:ext uri="{FF2B5EF4-FFF2-40B4-BE49-F238E27FC236}">
                  <a16:creationId xmlns:a16="http://schemas.microsoft.com/office/drawing/2014/main" id="{26C055B8-93FF-46DA-B415-D8D54497176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30988" y="1584325"/>
              <a:ext cx="3317875" cy="208438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30" name="Rectangle 48">
              <a:extLst>
                <a:ext uri="{FF2B5EF4-FFF2-40B4-BE49-F238E27FC236}">
                  <a16:creationId xmlns:a16="http://schemas.microsoft.com/office/drawing/2014/main" id="{CFE4BDC0-DE0F-4728-875B-177D4395AAE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848476" y="1785938"/>
              <a:ext cx="2879725" cy="17637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49">
              <a:extLst>
                <a:ext uri="{FF2B5EF4-FFF2-40B4-BE49-F238E27FC236}">
                  <a16:creationId xmlns:a16="http://schemas.microsoft.com/office/drawing/2014/main" id="{DF9925D4-DE10-40F0-8BA3-16B00AE6C44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151563" y="3668713"/>
              <a:ext cx="4276725" cy="185738"/>
            </a:xfrm>
            <a:custGeom>
              <a:avLst/>
              <a:gdLst>
                <a:gd name="T0" fmla="*/ 1265 w 1295"/>
                <a:gd name="T1" fmla="*/ 56 h 56"/>
                <a:gd name="T2" fmla="*/ 29 w 1295"/>
                <a:gd name="T3" fmla="*/ 56 h 56"/>
                <a:gd name="T4" fmla="*/ 0 w 1295"/>
                <a:gd name="T5" fmla="*/ 26 h 56"/>
                <a:gd name="T6" fmla="*/ 0 w 1295"/>
                <a:gd name="T7" fmla="*/ 0 h 56"/>
                <a:gd name="T8" fmla="*/ 1295 w 1295"/>
                <a:gd name="T9" fmla="*/ 0 h 56"/>
                <a:gd name="T10" fmla="*/ 1295 w 1295"/>
                <a:gd name="T11" fmla="*/ 26 h 56"/>
                <a:gd name="T12" fmla="*/ 1265 w 1295"/>
                <a:gd name="T1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5" h="56">
                  <a:moveTo>
                    <a:pt x="1265" y="56"/>
                  </a:moveTo>
                  <a:cubicBezTo>
                    <a:pt x="29" y="56"/>
                    <a:pt x="29" y="56"/>
                    <a:pt x="29" y="56"/>
                  </a:cubicBezTo>
                  <a:cubicBezTo>
                    <a:pt x="13" y="56"/>
                    <a:pt x="0" y="43"/>
                    <a:pt x="0" y="2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95" y="0"/>
                    <a:pt x="1295" y="0"/>
                    <a:pt x="1295" y="0"/>
                  </a:cubicBezTo>
                  <a:cubicBezTo>
                    <a:pt x="1295" y="26"/>
                    <a:pt x="1295" y="26"/>
                    <a:pt x="1295" y="26"/>
                  </a:cubicBezTo>
                  <a:cubicBezTo>
                    <a:pt x="1295" y="43"/>
                    <a:pt x="1282" y="56"/>
                    <a:pt x="1265" y="56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2" name="Rectangle 50">
              <a:extLst>
                <a:ext uri="{FF2B5EF4-FFF2-40B4-BE49-F238E27FC236}">
                  <a16:creationId xmlns:a16="http://schemas.microsoft.com/office/drawing/2014/main" id="{E95E9909-20A7-4A13-8FBC-BB76A4AAD52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353301" y="2098675"/>
              <a:ext cx="865188" cy="3302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3" name="Rectangle 51">
              <a:extLst>
                <a:ext uri="{FF2B5EF4-FFF2-40B4-BE49-F238E27FC236}">
                  <a16:creationId xmlns:a16="http://schemas.microsoft.com/office/drawing/2014/main" id="{2FD4C439-4658-45FA-AB12-5252FC20915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098675"/>
              <a:ext cx="266700" cy="330200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4" name="Rectangle 52">
              <a:extLst>
                <a:ext uri="{FF2B5EF4-FFF2-40B4-BE49-F238E27FC236}">
                  <a16:creationId xmlns:a16="http://schemas.microsoft.com/office/drawing/2014/main" id="{D9CFF0E1-0AE6-43B7-BC45-CB587EB544A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559050"/>
              <a:ext cx="1131888" cy="1016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5" name="Rectangle 53">
              <a:extLst>
                <a:ext uri="{FF2B5EF4-FFF2-40B4-BE49-F238E27FC236}">
                  <a16:creationId xmlns:a16="http://schemas.microsoft.com/office/drawing/2014/main" id="{E57A2468-B3CA-4D73-B693-76A85B0F761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744788"/>
              <a:ext cx="1131888" cy="1016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6" name="Rectangle 54">
              <a:extLst>
                <a:ext uri="{FF2B5EF4-FFF2-40B4-BE49-F238E27FC236}">
                  <a16:creationId xmlns:a16="http://schemas.microsoft.com/office/drawing/2014/main" id="{590B34AA-176F-4A9B-8492-C9062CEEB0A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925763"/>
              <a:ext cx="1131888" cy="10636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7" name="Rectangle 55">
              <a:extLst>
                <a:ext uri="{FF2B5EF4-FFF2-40B4-BE49-F238E27FC236}">
                  <a16:creationId xmlns:a16="http://schemas.microsoft.com/office/drawing/2014/main" id="{B478D54E-B6DE-4ACF-B271-59436F9D78D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3111500"/>
              <a:ext cx="1131888" cy="1031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8" name="Rectangle 56">
              <a:extLst>
                <a:ext uri="{FF2B5EF4-FFF2-40B4-BE49-F238E27FC236}">
                  <a16:creationId xmlns:a16="http://schemas.microsoft.com/office/drawing/2014/main" id="{10E94144-47B6-4CC4-8ACA-8555C206329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3297238"/>
              <a:ext cx="1131888" cy="1031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9" name="Rectangle 57">
              <a:extLst>
                <a:ext uri="{FF2B5EF4-FFF2-40B4-BE49-F238E27FC236}">
                  <a16:creationId xmlns:a16="http://schemas.microsoft.com/office/drawing/2014/main" id="{884B7082-B3DA-41C6-888E-340C61D061D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2098675"/>
              <a:ext cx="314325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Rectangle 58">
              <a:extLst>
                <a:ext uri="{FF2B5EF4-FFF2-40B4-BE49-F238E27FC236}">
                  <a16:creationId xmlns:a16="http://schemas.microsoft.com/office/drawing/2014/main" id="{EAB98FDB-F070-4FD8-8674-449941060C9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2098675"/>
              <a:ext cx="312738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Rectangle 59">
              <a:extLst>
                <a:ext uri="{FF2B5EF4-FFF2-40B4-BE49-F238E27FC236}">
                  <a16:creationId xmlns:a16="http://schemas.microsoft.com/office/drawing/2014/main" id="{B045539F-5CE5-47A9-A17E-1643D4CD9B2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2098675"/>
              <a:ext cx="314325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Rectangle 60">
              <a:extLst>
                <a:ext uri="{FF2B5EF4-FFF2-40B4-BE49-F238E27FC236}">
                  <a16:creationId xmlns:a16="http://schemas.microsoft.com/office/drawing/2014/main" id="{C0C7BB4D-3B48-4D4F-B494-4C1EE0FD7C1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2581275"/>
              <a:ext cx="314325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Rectangle 61">
              <a:extLst>
                <a:ext uri="{FF2B5EF4-FFF2-40B4-BE49-F238E27FC236}">
                  <a16:creationId xmlns:a16="http://schemas.microsoft.com/office/drawing/2014/main" id="{0BFA0E04-B61F-491E-8CEE-28213247876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2581275"/>
              <a:ext cx="312738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Rectangle 62">
              <a:extLst>
                <a:ext uri="{FF2B5EF4-FFF2-40B4-BE49-F238E27FC236}">
                  <a16:creationId xmlns:a16="http://schemas.microsoft.com/office/drawing/2014/main" id="{AFB42A0A-BD91-43E7-988D-573EEC53456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2581275"/>
              <a:ext cx="314325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Rectangle 63">
              <a:extLst>
                <a:ext uri="{FF2B5EF4-FFF2-40B4-BE49-F238E27FC236}">
                  <a16:creationId xmlns:a16="http://schemas.microsoft.com/office/drawing/2014/main" id="{BA15039E-DBE6-4F6E-80B1-70B510D54B0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3062288"/>
              <a:ext cx="314325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Rectangle 64">
              <a:extLst>
                <a:ext uri="{FF2B5EF4-FFF2-40B4-BE49-F238E27FC236}">
                  <a16:creationId xmlns:a16="http://schemas.microsoft.com/office/drawing/2014/main" id="{265A4B65-72CE-4B68-9D58-5199411F4C9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3062288"/>
              <a:ext cx="312738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Rectangle 65">
              <a:extLst>
                <a:ext uri="{FF2B5EF4-FFF2-40B4-BE49-F238E27FC236}">
                  <a16:creationId xmlns:a16="http://schemas.microsoft.com/office/drawing/2014/main" id="{9602881A-C071-4CA3-9947-55E1E8A8C5B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3062288"/>
              <a:ext cx="314325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05" name="Multiplication Sign 204">
            <a:extLst>
              <a:ext uri="{FF2B5EF4-FFF2-40B4-BE49-F238E27FC236}">
                <a16:creationId xmlns:a16="http://schemas.microsoft.com/office/drawing/2014/main" id="{464A0F58-5D65-499E-8280-34A9DFF27F4A}"/>
              </a:ext>
            </a:extLst>
          </p:cNvPr>
          <p:cNvSpPr/>
          <p:nvPr userDrawn="1"/>
        </p:nvSpPr>
        <p:spPr bwMode="ltGray">
          <a:xfrm>
            <a:off x="3643244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1" name="Multiplication Sign 210">
            <a:extLst>
              <a:ext uri="{FF2B5EF4-FFF2-40B4-BE49-F238E27FC236}">
                <a16:creationId xmlns:a16="http://schemas.microsoft.com/office/drawing/2014/main" id="{69338860-60E4-44A3-B6C1-0BC1315BA942}"/>
              </a:ext>
            </a:extLst>
          </p:cNvPr>
          <p:cNvSpPr/>
          <p:nvPr userDrawn="1"/>
        </p:nvSpPr>
        <p:spPr bwMode="ltGray">
          <a:xfrm>
            <a:off x="6271892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4" name="Multiplication Sign 213">
            <a:extLst>
              <a:ext uri="{FF2B5EF4-FFF2-40B4-BE49-F238E27FC236}">
                <a16:creationId xmlns:a16="http://schemas.microsoft.com/office/drawing/2014/main" id="{DFD379AB-2220-4E7F-85FE-EBBE910DB5C2}"/>
              </a:ext>
            </a:extLst>
          </p:cNvPr>
          <p:cNvSpPr/>
          <p:nvPr userDrawn="1"/>
        </p:nvSpPr>
        <p:spPr bwMode="ltGray">
          <a:xfrm>
            <a:off x="8826629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971C9C6-D4A9-4DFA-9E2D-9E501DB092DC}"/>
              </a:ext>
            </a:extLst>
          </p:cNvPr>
          <p:cNvGrpSpPr/>
          <p:nvPr userDrawn="1"/>
        </p:nvGrpSpPr>
        <p:grpSpPr bwMode="gray">
          <a:xfrm>
            <a:off x="3132278" y="2298246"/>
            <a:ext cx="718204" cy="544549"/>
            <a:chOff x="3132278" y="2298246"/>
            <a:chExt cx="718204" cy="544549"/>
          </a:xfrm>
        </p:grpSpPr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19123BC5-D4FA-46FE-A2AC-4D6533EA9AB2}"/>
                </a:ext>
              </a:extLst>
            </p:cNvPr>
            <p:cNvSpPr/>
            <p:nvPr/>
          </p:nvSpPr>
          <p:spPr bwMode="gray">
            <a:xfrm>
              <a:off x="3194451" y="2298246"/>
              <a:ext cx="107195" cy="171511"/>
            </a:xfrm>
            <a:custGeom>
              <a:avLst/>
              <a:gdLst/>
              <a:ahLst/>
              <a:cxnLst/>
              <a:rect l="0" t="0" r="0" b="0"/>
              <a:pathLst>
                <a:path w="95250" h="152400">
                  <a:moveTo>
                    <a:pt x="81439" y="147161"/>
                  </a:moveTo>
                  <a:lnTo>
                    <a:pt x="20479" y="147161"/>
                  </a:lnTo>
                  <a:cubicBezTo>
                    <a:pt x="13811" y="147161"/>
                    <a:pt x="7144" y="141446"/>
                    <a:pt x="7144" y="133826"/>
                  </a:cubicBezTo>
                  <a:lnTo>
                    <a:pt x="7144" y="19526"/>
                  </a:lnTo>
                  <a:cubicBezTo>
                    <a:pt x="7144" y="12859"/>
                    <a:pt x="12859" y="7144"/>
                    <a:pt x="20479" y="7144"/>
                  </a:cubicBezTo>
                  <a:lnTo>
                    <a:pt x="81439" y="7144"/>
                  </a:lnTo>
                  <a:cubicBezTo>
                    <a:pt x="88106" y="7144"/>
                    <a:pt x="94774" y="12859"/>
                    <a:pt x="94774" y="20479"/>
                  </a:cubicBezTo>
                  <a:lnTo>
                    <a:pt x="94774" y="134779"/>
                  </a:lnTo>
                  <a:cubicBezTo>
                    <a:pt x="94774" y="141446"/>
                    <a:pt x="88106" y="147161"/>
                    <a:pt x="81439" y="147161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711D87E-2859-4301-A153-9C62DB528E0B}"/>
                </a:ext>
              </a:extLst>
            </p:cNvPr>
            <p:cNvSpPr/>
            <p:nvPr/>
          </p:nvSpPr>
          <p:spPr bwMode="gray">
            <a:xfrm>
              <a:off x="3293070" y="2417233"/>
              <a:ext cx="557412" cy="407339"/>
            </a:xfrm>
            <a:custGeom>
              <a:avLst/>
              <a:gdLst/>
              <a:ahLst/>
              <a:cxnLst/>
              <a:rect l="0" t="0" r="0" b="0"/>
              <a:pathLst>
                <a:path w="495300" h="361950">
                  <a:moveTo>
                    <a:pt x="488156" y="31909"/>
                  </a:moveTo>
                  <a:lnTo>
                    <a:pt x="439579" y="7144"/>
                  </a:lnTo>
                  <a:lnTo>
                    <a:pt x="7144" y="7144"/>
                  </a:lnTo>
                  <a:lnTo>
                    <a:pt x="7144" y="356711"/>
                  </a:lnTo>
                  <a:lnTo>
                    <a:pt x="433864" y="356711"/>
                  </a:lnTo>
                  <a:lnTo>
                    <a:pt x="488156" y="328136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A4F64010-C37F-4B0B-8C4B-E5CD5398E636}"/>
                </a:ext>
              </a:extLst>
            </p:cNvPr>
            <p:cNvSpPr/>
            <p:nvPr/>
          </p:nvSpPr>
          <p:spPr bwMode="gray">
            <a:xfrm>
              <a:off x="3293070" y="2392577"/>
              <a:ext cx="557412" cy="64317"/>
            </a:xfrm>
            <a:custGeom>
              <a:avLst/>
              <a:gdLst/>
              <a:ahLst/>
              <a:cxnLst/>
              <a:rect l="0" t="0" r="0" b="0"/>
              <a:pathLst>
                <a:path w="495300" h="57150">
                  <a:moveTo>
                    <a:pt x="488156" y="53816"/>
                  </a:moveTo>
                  <a:lnTo>
                    <a:pt x="488156" y="49054"/>
                  </a:lnTo>
                  <a:cubicBezTo>
                    <a:pt x="488156" y="26194"/>
                    <a:pt x="469106" y="7144"/>
                    <a:pt x="446246" y="7144"/>
                  </a:cubicBezTo>
                  <a:lnTo>
                    <a:pt x="7144" y="7144"/>
                  </a:lnTo>
                  <a:lnTo>
                    <a:pt x="7144" y="53816"/>
                  </a:lnTo>
                  <a:lnTo>
                    <a:pt x="488156" y="53816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DF5111A6-FF13-4B86-9A02-4968F86EFDFC}"/>
                </a:ext>
              </a:extLst>
            </p:cNvPr>
            <p:cNvSpPr/>
            <p:nvPr/>
          </p:nvSpPr>
          <p:spPr bwMode="gray">
            <a:xfrm>
              <a:off x="3293070" y="2778478"/>
              <a:ext cx="557412" cy="64317"/>
            </a:xfrm>
            <a:custGeom>
              <a:avLst/>
              <a:gdLst/>
              <a:ahLst/>
              <a:cxnLst/>
              <a:rect l="0" t="0" r="0" b="0"/>
              <a:pathLst>
                <a:path w="495300" h="57150">
                  <a:moveTo>
                    <a:pt x="7144" y="7144"/>
                  </a:moveTo>
                  <a:lnTo>
                    <a:pt x="7144" y="57626"/>
                  </a:lnTo>
                  <a:lnTo>
                    <a:pt x="446246" y="57626"/>
                  </a:lnTo>
                  <a:cubicBezTo>
                    <a:pt x="469106" y="57626"/>
                    <a:pt x="488156" y="38576"/>
                    <a:pt x="488156" y="15716"/>
                  </a:cubicBezTo>
                  <a:lnTo>
                    <a:pt x="488156" y="7144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D46C1B4E-7932-4411-ADEE-738D4EB9AB4F}"/>
                </a:ext>
              </a:extLst>
            </p:cNvPr>
            <p:cNvSpPr/>
            <p:nvPr/>
          </p:nvSpPr>
          <p:spPr bwMode="gray">
            <a:xfrm>
              <a:off x="3132278" y="2346484"/>
              <a:ext cx="235828" cy="482376"/>
            </a:xfrm>
            <a:custGeom>
              <a:avLst/>
              <a:gdLst/>
              <a:ahLst/>
              <a:cxnLst/>
              <a:rect l="0" t="0" r="0" b="0"/>
              <a:pathLst>
                <a:path w="209550" h="428625">
                  <a:moveTo>
                    <a:pt x="205264" y="391001"/>
                  </a:moveTo>
                  <a:lnTo>
                    <a:pt x="109061" y="428149"/>
                  </a:lnTo>
                  <a:lnTo>
                    <a:pt x="7144" y="391001"/>
                  </a:lnTo>
                  <a:lnTo>
                    <a:pt x="7144" y="48101"/>
                  </a:lnTo>
                  <a:lnTo>
                    <a:pt x="106204" y="7144"/>
                  </a:lnTo>
                  <a:lnTo>
                    <a:pt x="205264" y="48101"/>
                  </a:ln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403E67C2-61A7-4327-B9AE-EB39024D08C9}"/>
                </a:ext>
              </a:extLst>
            </p:cNvPr>
            <p:cNvSpPr/>
            <p:nvPr/>
          </p:nvSpPr>
          <p:spPr bwMode="gray">
            <a:xfrm>
              <a:off x="3132278" y="2327189"/>
              <a:ext cx="235828" cy="75036"/>
            </a:xfrm>
            <a:custGeom>
              <a:avLst/>
              <a:gdLst/>
              <a:ahLst/>
              <a:cxnLst/>
              <a:rect l="0" t="0" r="0" b="0"/>
              <a:pathLst>
                <a:path w="209550" h="66675">
                  <a:moveTo>
                    <a:pt x="205264" y="65246"/>
                  </a:moveTo>
                  <a:lnTo>
                    <a:pt x="205264" y="44291"/>
                  </a:lnTo>
                  <a:cubicBezTo>
                    <a:pt x="205264" y="23336"/>
                    <a:pt x="188119" y="7144"/>
                    <a:pt x="168116" y="7144"/>
                  </a:cubicBezTo>
                  <a:lnTo>
                    <a:pt x="44291" y="7144"/>
                  </a:lnTo>
                  <a:cubicBezTo>
                    <a:pt x="24289" y="7144"/>
                    <a:pt x="7144" y="24289"/>
                    <a:pt x="7144" y="44291"/>
                  </a:cubicBezTo>
                  <a:lnTo>
                    <a:pt x="7144" y="65246"/>
                  </a:lnTo>
                  <a:lnTo>
                    <a:pt x="205264" y="65246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6D3A9CA2-5D0F-4251-A1DB-C27B4C28C03D}"/>
                </a:ext>
              </a:extLst>
            </p:cNvPr>
            <p:cNvSpPr/>
            <p:nvPr/>
          </p:nvSpPr>
          <p:spPr bwMode="gray">
            <a:xfrm>
              <a:off x="3132278" y="2778478"/>
              <a:ext cx="235828" cy="64317"/>
            </a:xfrm>
            <a:custGeom>
              <a:avLst/>
              <a:gdLst/>
              <a:ahLst/>
              <a:cxnLst/>
              <a:rect l="0" t="0" r="0" b="0"/>
              <a:pathLst>
                <a:path w="209550" h="57150">
                  <a:moveTo>
                    <a:pt x="7144" y="7144"/>
                  </a:moveTo>
                  <a:lnTo>
                    <a:pt x="7144" y="19526"/>
                  </a:lnTo>
                  <a:cubicBezTo>
                    <a:pt x="7144" y="40481"/>
                    <a:pt x="24289" y="56674"/>
                    <a:pt x="44291" y="56674"/>
                  </a:cubicBezTo>
                  <a:lnTo>
                    <a:pt x="167164" y="56674"/>
                  </a:lnTo>
                  <a:cubicBezTo>
                    <a:pt x="188119" y="56674"/>
                    <a:pt x="204311" y="39529"/>
                    <a:pt x="204311" y="19526"/>
                  </a:cubicBezTo>
                  <a:lnTo>
                    <a:pt x="204311" y="7144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139DA858-1E17-41E2-A370-09FD78386FD7}"/>
                </a:ext>
              </a:extLst>
            </p:cNvPr>
            <p:cNvSpPr/>
            <p:nvPr/>
          </p:nvSpPr>
          <p:spPr bwMode="gray">
            <a:xfrm>
              <a:off x="3407769" y="2427952"/>
              <a:ext cx="375181" cy="375181"/>
            </a:xfrm>
            <a:custGeom>
              <a:avLst/>
              <a:gdLst/>
              <a:ahLst/>
              <a:cxnLst/>
              <a:rect l="0" t="0" r="0" b="0"/>
              <a:pathLst>
                <a:path w="333375" h="333375">
                  <a:moveTo>
                    <a:pt x="329089" y="168116"/>
                  </a:moveTo>
                  <a:cubicBezTo>
                    <a:pt x="329089" y="257019"/>
                    <a:pt x="257019" y="329089"/>
                    <a:pt x="168116" y="329089"/>
                  </a:cubicBezTo>
                  <a:cubicBezTo>
                    <a:pt x="79214" y="329089"/>
                    <a:pt x="7144" y="257019"/>
                    <a:pt x="7144" y="168116"/>
                  </a:cubicBezTo>
                  <a:cubicBezTo>
                    <a:pt x="7144" y="79214"/>
                    <a:pt x="79214" y="7144"/>
                    <a:pt x="168116" y="7144"/>
                  </a:cubicBezTo>
                  <a:cubicBezTo>
                    <a:pt x="257019" y="7144"/>
                    <a:pt x="329089" y="79214"/>
                    <a:pt x="329089" y="168116"/>
                  </a:cubicBez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B982D7D2-16E2-4E71-A0C9-3E8F510C3D69}"/>
                </a:ext>
              </a:extLst>
            </p:cNvPr>
            <p:cNvSpPr/>
            <p:nvPr/>
          </p:nvSpPr>
          <p:spPr bwMode="gray">
            <a:xfrm>
              <a:off x="3436711" y="2456894"/>
              <a:ext cx="310864" cy="310864"/>
            </a:xfrm>
            <a:custGeom>
              <a:avLst/>
              <a:gdLst/>
              <a:ahLst/>
              <a:cxnLst/>
              <a:rect l="0" t="0" r="0" b="0"/>
              <a:pathLst>
                <a:path w="276225" h="276225">
                  <a:moveTo>
                    <a:pt x="277654" y="142399"/>
                  </a:moveTo>
                  <a:cubicBezTo>
                    <a:pt x="277654" y="217098"/>
                    <a:pt x="217098" y="277654"/>
                    <a:pt x="142399" y="277654"/>
                  </a:cubicBezTo>
                  <a:cubicBezTo>
                    <a:pt x="67699" y="277654"/>
                    <a:pt x="7144" y="217098"/>
                    <a:pt x="7144" y="142399"/>
                  </a:cubicBezTo>
                  <a:cubicBezTo>
                    <a:pt x="7144" y="67699"/>
                    <a:pt x="67699" y="7144"/>
                    <a:pt x="142399" y="7144"/>
                  </a:cubicBezTo>
                  <a:cubicBezTo>
                    <a:pt x="217098" y="7144"/>
                    <a:pt x="277654" y="67699"/>
                    <a:pt x="277654" y="142399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A6D67E79-9064-4B8F-BA3E-B5213A78A1AD}"/>
                </a:ext>
              </a:extLst>
            </p:cNvPr>
            <p:cNvSpPr/>
            <p:nvPr/>
          </p:nvSpPr>
          <p:spPr bwMode="gray">
            <a:xfrm>
              <a:off x="3588927" y="2609110"/>
              <a:ext cx="160792" cy="160792"/>
            </a:xfrm>
            <a:custGeom>
              <a:avLst/>
              <a:gdLst/>
              <a:ahLst/>
              <a:cxnLst/>
              <a:rect l="0" t="0" r="0" b="0"/>
              <a:pathLst>
                <a:path w="142875" h="142875">
                  <a:moveTo>
                    <a:pt x="7144" y="141446"/>
                  </a:moveTo>
                  <a:lnTo>
                    <a:pt x="7144" y="7144"/>
                  </a:lnTo>
                  <a:lnTo>
                    <a:pt x="142399" y="7144"/>
                  </a:lnTo>
                  <a:lnTo>
                    <a:pt x="142399" y="7144"/>
                  </a:lnTo>
                  <a:cubicBezTo>
                    <a:pt x="142399" y="81439"/>
                    <a:pt x="82391" y="141446"/>
                    <a:pt x="7144" y="141446"/>
                  </a:cubicBezTo>
                  <a:lnTo>
                    <a:pt x="7144" y="141446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9881B2B0-E706-40DB-902E-6B6B6D6A4E6C}"/>
                </a:ext>
              </a:extLst>
            </p:cNvPr>
            <p:cNvSpPr/>
            <p:nvPr/>
          </p:nvSpPr>
          <p:spPr bwMode="gray">
            <a:xfrm>
              <a:off x="3497812" y="2517996"/>
              <a:ext cx="192950" cy="192950"/>
            </a:xfrm>
            <a:custGeom>
              <a:avLst/>
              <a:gdLst/>
              <a:ahLst/>
              <a:cxnLst/>
              <a:rect l="0" t="0" r="0" b="0"/>
              <a:pathLst>
                <a:path w="171450" h="171450">
                  <a:moveTo>
                    <a:pt x="169069" y="88106"/>
                  </a:moveTo>
                  <a:cubicBezTo>
                    <a:pt x="169069" y="132821"/>
                    <a:pt x="132821" y="169069"/>
                    <a:pt x="88106" y="169069"/>
                  </a:cubicBezTo>
                  <a:cubicBezTo>
                    <a:pt x="43392" y="169069"/>
                    <a:pt x="7144" y="132821"/>
                    <a:pt x="7144" y="88106"/>
                  </a:cubicBezTo>
                  <a:cubicBezTo>
                    <a:pt x="7144" y="43392"/>
                    <a:pt x="43392" y="7144"/>
                    <a:pt x="88106" y="7144"/>
                  </a:cubicBezTo>
                  <a:cubicBezTo>
                    <a:pt x="132821" y="7144"/>
                    <a:pt x="169069" y="43392"/>
                    <a:pt x="169069" y="88106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A2AA46AB-18A0-4251-B4B2-A28EA46FABC6}"/>
                </a:ext>
              </a:extLst>
            </p:cNvPr>
            <p:cNvSpPr/>
            <p:nvPr/>
          </p:nvSpPr>
          <p:spPr bwMode="gray">
            <a:xfrm>
              <a:off x="3528898" y="2549081"/>
              <a:ext cx="75036" cy="75036"/>
            </a:xfrm>
            <a:custGeom>
              <a:avLst/>
              <a:gdLst/>
              <a:ahLst/>
              <a:cxnLst/>
              <a:rect l="0" t="0" r="0" b="0"/>
              <a:pathLst>
                <a:path w="66675" h="66675">
                  <a:moveTo>
                    <a:pt x="68104" y="37624"/>
                  </a:moveTo>
                  <a:cubicBezTo>
                    <a:pt x="68104" y="54457"/>
                    <a:pt x="54457" y="68104"/>
                    <a:pt x="37624" y="68104"/>
                  </a:cubicBezTo>
                  <a:cubicBezTo>
                    <a:pt x="20790" y="68104"/>
                    <a:pt x="7144" y="54457"/>
                    <a:pt x="7144" y="37624"/>
                  </a:cubicBezTo>
                  <a:cubicBezTo>
                    <a:pt x="7144" y="20790"/>
                    <a:pt x="20790" y="7144"/>
                    <a:pt x="37624" y="7144"/>
                  </a:cubicBezTo>
                  <a:cubicBezTo>
                    <a:pt x="54457" y="7144"/>
                    <a:pt x="68104" y="20790"/>
                    <a:pt x="68104" y="3762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EF43424F-38F4-432B-AE52-7BC0881813F7}"/>
                </a:ext>
              </a:extLst>
            </p:cNvPr>
            <p:cNvSpPr/>
            <p:nvPr/>
          </p:nvSpPr>
          <p:spPr bwMode="gray">
            <a:xfrm>
              <a:off x="3388474" y="2416160"/>
              <a:ext cx="64317" cy="64317"/>
            </a:xfrm>
            <a:custGeom>
              <a:avLst/>
              <a:gdLst/>
              <a:ahLst/>
              <a:cxnLst/>
              <a:rect l="0" t="0" r="0" b="0"/>
              <a:pathLst>
                <a:path w="57150" h="57150">
                  <a:moveTo>
                    <a:pt x="58579" y="32861"/>
                  </a:moveTo>
                  <a:cubicBezTo>
                    <a:pt x="58579" y="47065"/>
                    <a:pt x="47065" y="58579"/>
                    <a:pt x="32861" y="58579"/>
                  </a:cubicBezTo>
                  <a:cubicBezTo>
                    <a:pt x="18658" y="58579"/>
                    <a:pt x="7144" y="47065"/>
                    <a:pt x="7144" y="32861"/>
                  </a:cubicBezTo>
                  <a:cubicBezTo>
                    <a:pt x="7144" y="18658"/>
                    <a:pt x="18658" y="7144"/>
                    <a:pt x="32861" y="7144"/>
                  </a:cubicBezTo>
                  <a:cubicBezTo>
                    <a:pt x="47065" y="7144"/>
                    <a:pt x="58579" y="18658"/>
                    <a:pt x="58579" y="32861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CA05F177-6194-465B-BE2A-800E5ED64142}"/>
                </a:ext>
              </a:extLst>
            </p:cNvPr>
            <p:cNvSpPr/>
            <p:nvPr/>
          </p:nvSpPr>
          <p:spPr bwMode="gray">
            <a:xfrm>
              <a:off x="3132278" y="2392577"/>
              <a:ext cx="96475" cy="396620"/>
            </a:xfrm>
            <a:custGeom>
              <a:avLst/>
              <a:gdLst/>
              <a:ahLst/>
              <a:cxnLst/>
              <a:rect l="0" t="0" r="0" b="0"/>
              <a:pathLst>
                <a:path w="85725" h="352425">
                  <a:moveTo>
                    <a:pt x="7144" y="7144"/>
                  </a:moveTo>
                  <a:lnTo>
                    <a:pt x="83344" y="7144"/>
                  </a:lnTo>
                  <a:lnTo>
                    <a:pt x="83344" y="350044"/>
                  </a:lnTo>
                  <a:lnTo>
                    <a:pt x="7144" y="350044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83D552AA-E188-4FE9-820E-7624D3B5EABD}"/>
                </a:ext>
              </a:extLst>
            </p:cNvPr>
            <p:cNvSpPr/>
            <p:nvPr/>
          </p:nvSpPr>
          <p:spPr bwMode="gray">
            <a:xfrm>
              <a:off x="3451718" y="2316470"/>
              <a:ext cx="289425" cy="85756"/>
            </a:xfrm>
            <a:custGeom>
              <a:avLst/>
              <a:gdLst/>
              <a:ahLst/>
              <a:cxnLst/>
              <a:rect l="0" t="0" r="0" b="0"/>
              <a:pathLst>
                <a:path w="257175" h="76200">
                  <a:moveTo>
                    <a:pt x="251936" y="75724"/>
                  </a:moveTo>
                  <a:lnTo>
                    <a:pt x="7144" y="75724"/>
                  </a:lnTo>
                  <a:lnTo>
                    <a:pt x="41434" y="17621"/>
                  </a:lnTo>
                  <a:cubicBezTo>
                    <a:pt x="45244" y="10954"/>
                    <a:pt x="52864" y="7144"/>
                    <a:pt x="60484" y="7144"/>
                  </a:cubicBezTo>
                  <a:lnTo>
                    <a:pt x="198596" y="7144"/>
                  </a:lnTo>
                  <a:cubicBezTo>
                    <a:pt x="206216" y="7144"/>
                    <a:pt x="213836" y="10954"/>
                    <a:pt x="217646" y="17621"/>
                  </a:cubicBezTo>
                  <a:lnTo>
                    <a:pt x="251936" y="75724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537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745422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8989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9986226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5A484E-7BCE-4747-9A20-A5980F2834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914A955-379C-4315-A1DA-FA485D89D5A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8ACE68-3E14-4E39-9008-349AB3C5CD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13DFD2-E4CA-444C-86F5-ACAA3097F9F0}" type="datetimeFigureOut">
              <a:rPr lang="en-US" smtClean="0"/>
              <a:t>11/1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090A40-0EC2-4FC7-8C9D-4EDFA8981A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D4F06F-A412-4F44-9AFA-04315B48F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2D1F2-D50D-4555-8E26-C96428ACA0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66312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428769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07370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98481733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19962767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7654787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295295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655456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69521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667551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50250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804722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50757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124077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2167985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2113482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15392275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42035311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648940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056236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45570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58955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494032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22910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11923713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269240" y="2084186"/>
            <a:ext cx="6901366" cy="1158793"/>
          </a:xfrm>
          <a:noFill/>
        </p:spPr>
        <p:txBody>
          <a:bodyPr wrap="square" tIns="91440" bIns="91440" anchor="b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269240" y="3877277"/>
            <a:ext cx="6902457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39504" y="0"/>
            <a:ext cx="4752496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7439504" y="0"/>
            <a:ext cx="2690364" cy="6858000"/>
          </a:xfrm>
          <a:prstGeom prst="rect">
            <a:avLst/>
          </a:prstGeom>
          <a:gradFill flip="none" rotWithShape="1">
            <a:gsLst>
              <a:gs pos="0">
                <a:srgbClr val="E6E6E6">
                  <a:alpha val="5000"/>
                </a:srgbClr>
              </a:gs>
              <a:gs pos="100000">
                <a:srgbClr val="E6E6E6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53786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rgbClr val="0089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272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684089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C785812-DBB3-49A5-B9A5-226A70E584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6158511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- gra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3072196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73"/>
            <a:ext cx="11653523" cy="1270476"/>
          </a:xfrm>
          <a:noFill/>
        </p:spPr>
        <p:txBody>
          <a:bodyPr tIns="91440" bIns="91440" anchor="t" anchorCtr="0">
            <a:spAutoFit/>
          </a:bodyPr>
          <a:lstStyle>
            <a:lvl1pPr algn="l">
              <a:defRPr sz="7056" cap="none" spc="-99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700772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body slide (with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302551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2pt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BF94EA65-2CBF-4A04-9D22-169D8572F34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6423" y="991608"/>
            <a:ext cx="11339774" cy="27159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1274"/>
              </a:spcAft>
              <a:buNone/>
              <a:defRPr sz="1961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90000"/>
              </a:lnSpc>
              <a:spcBef>
                <a:spcPts val="0"/>
              </a:spcBef>
              <a:spcAft>
                <a:spcPts val="1274"/>
              </a:spcAft>
              <a:buNone/>
              <a:defRPr sz="1961">
                <a:solidFill>
                  <a:schemeClr val="tx2"/>
                </a:solidFill>
              </a:defRPr>
            </a:lvl2pPr>
            <a:lvl3pPr marL="448193" indent="0">
              <a:spcBef>
                <a:spcPts val="0"/>
              </a:spcBef>
              <a:spcAft>
                <a:spcPts val="1274"/>
              </a:spcAft>
              <a:buNone/>
              <a:defRPr sz="1961"/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title Segoe UI</a:t>
            </a:r>
          </a:p>
        </p:txBody>
      </p:sp>
    </p:spTree>
    <p:extLst>
      <p:ext uri="{BB962C8B-B14F-4D97-AF65-F5344CB8AC3E}">
        <p14:creationId xmlns:p14="http://schemas.microsoft.com/office/powerpoint/2010/main" val="2259714597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nline Image Placeholder 2">
            <a:extLst>
              <a:ext uri="{FF2B5EF4-FFF2-40B4-BE49-F238E27FC236}">
                <a16:creationId xmlns:a16="http://schemas.microsoft.com/office/drawing/2014/main" id="{562D5679-B66F-A244-9E94-0FFE5F1B6168}"/>
              </a:ext>
            </a:extLst>
          </p:cNvPr>
          <p:cNvSpPr>
            <a:spLocks noGrp="1"/>
          </p:cNvSpPr>
          <p:nvPr>
            <p:ph type="clipArt" sz="quarter" idx="11" hasCustomPrompt="1"/>
          </p:nvPr>
        </p:nvSpPr>
        <p:spPr>
          <a:xfrm>
            <a:off x="5982391" y="1179838"/>
            <a:ext cx="5780073" cy="3756460"/>
          </a:xfrm>
        </p:spPr>
        <p:txBody>
          <a:bodyPr anchor="ctr">
            <a:noAutofit/>
          </a:bodyPr>
          <a:lstStyle>
            <a:lvl1pPr algn="ctr">
              <a:defRPr sz="1765" b="1"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44854"/>
            <a:ext cx="5138175" cy="2573509"/>
          </a:xfrm>
        </p:spPr>
        <p:txBody>
          <a:bodyPr wrap="square" lIns="0" tIns="0" rIns="0" bIns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549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745" b="0" i="0">
                <a:solidFill>
                  <a:srgbClr val="000000"/>
                </a:solidFill>
                <a:latin typeface="+mn-lt"/>
              </a:defRPr>
            </a:lvl1pPr>
            <a:lvl2pPr marL="224097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pt-BR"/>
              <a:t>Subhead Segoe UI 28pt</a:t>
            </a:r>
          </a:p>
          <a:p>
            <a:pPr lvl="0"/>
            <a:r>
              <a:rPr lang="pt-BR"/>
              <a:t>Subhead Segoe UI 28pt</a:t>
            </a:r>
          </a:p>
          <a:p>
            <a:pPr lvl="0"/>
            <a:r>
              <a:rPr lang="pt-BR"/>
              <a:t>Subhead Segoe UI 28pt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60CBD1C-0AFE-4EB9-94D7-943981FE0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Device layout</a:t>
            </a:r>
          </a:p>
        </p:txBody>
      </p:sp>
    </p:spTree>
    <p:extLst>
      <p:ext uri="{BB962C8B-B14F-4D97-AF65-F5344CB8AC3E}">
        <p14:creationId xmlns:p14="http://schemas.microsoft.com/office/powerpoint/2010/main" val="4007092908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20574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ree column text layout (with bullets)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0842"/>
            <a:ext cx="3630521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FCB46-ABD2-4E30-8117-D04A484725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2310842"/>
            <a:ext cx="3623050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2310841"/>
            <a:ext cx="3630521" cy="2611809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9F8B0FF-313D-4C1A-A7B1-593EFBB6799A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891F4A9-544F-4CF3-A3B0-A9DCC101E957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6146284-39AE-45CB-80C2-9315EFA1A67C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8470186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5" y="2003185"/>
            <a:ext cx="4616169" cy="11079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8265" y="3203721"/>
            <a:ext cx="4616169" cy="1612749"/>
          </a:xfrm>
        </p:spPr>
        <p:txBody>
          <a:bodyPr wrap="square">
            <a:spAutoFit/>
          </a:bodyPr>
          <a:lstStyle>
            <a:lvl1pPr marL="0" indent="0" defTabSz="2233557">
              <a:spcBef>
                <a:spcPts val="18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0" indent="0" defTabSz="2233557">
              <a:buFont typeface="Wingdings" panose="05000000000000000000" pitchFamily="2" charset="2"/>
              <a:buNone/>
              <a:defRPr sz="2000" b="0"/>
            </a:lvl2pPr>
            <a:lvl3pPr marL="0" indent="0" defTabSz="2233557">
              <a:buFont typeface="Wingdings" panose="05000000000000000000" pitchFamily="2" charset="2"/>
              <a:buNone/>
              <a:tabLst/>
              <a:defRPr sz="1600" b="0"/>
            </a:lvl3pPr>
            <a:lvl4pPr marL="0" indent="0" defTabSz="2233557">
              <a:buFont typeface="Wingdings" panose="05000000000000000000" pitchFamily="2" charset="2"/>
              <a:buNone/>
              <a:defRPr sz="1400" b="0"/>
            </a:lvl4pPr>
            <a:lvl5pPr marL="0" indent="0" defTabSz="2233557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10F95669-17B3-4C7F-9110-BA0624377005}"/>
              </a:ext>
            </a:extLst>
          </p:cNvPr>
          <p:cNvSpPr txBox="1"/>
          <p:nvPr userDrawn="1"/>
        </p:nvSpPr>
        <p:spPr bwMode="black">
          <a:xfrm>
            <a:off x="4393580" y="6568123"/>
            <a:ext cx="3404842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1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428655518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enter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88070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269240" y="2084186"/>
            <a:ext cx="6902471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39504" y="0"/>
            <a:ext cx="4752496" cy="6858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auto">
          <a:xfrm>
            <a:off x="7439504" y="0"/>
            <a:ext cx="2690364" cy="6858000"/>
          </a:xfrm>
          <a:prstGeom prst="rect">
            <a:avLst/>
          </a:prstGeom>
          <a:gradFill flip="none" rotWithShape="1">
            <a:gsLst>
              <a:gs pos="0">
                <a:srgbClr val="E6E6E6">
                  <a:alpha val="5000"/>
                </a:srgbClr>
              </a:gs>
              <a:gs pos="100000">
                <a:srgbClr val="E6E6E6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01984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3990730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6" name="Picture 5" descr="Group of people in an office working." title="Microsoft Brand Photo">
            <a:extLst>
              <a:ext uri="{FF2B5EF4-FFF2-40B4-BE49-F238E27FC236}">
                <a16:creationId xmlns:a16="http://schemas.microsoft.com/office/drawing/2014/main" id="{31FDC4B1-0785-4203-90B0-3586BA9865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79213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6" name="Picture 5" descr="Group of people in an office working." title="Microsoft Brand Photo">
            <a:extLst>
              <a:ext uri="{FF2B5EF4-FFF2-40B4-BE49-F238E27FC236}">
                <a16:creationId xmlns:a16="http://schemas.microsoft.com/office/drawing/2014/main" id="{D112DACC-3558-4EAF-B807-7C520DCF91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2802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4746777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6860781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792870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935867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197872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55468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298601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image" Target="../media/image11.emf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26" Type="http://schemas.openxmlformats.org/officeDocument/2006/relationships/slideLayout" Target="../slideLayouts/slideLayout85.xml"/><Relationship Id="rId3" Type="http://schemas.openxmlformats.org/officeDocument/2006/relationships/slideLayout" Target="../slideLayouts/slideLayout62.xml"/><Relationship Id="rId21" Type="http://schemas.openxmlformats.org/officeDocument/2006/relationships/slideLayout" Target="../slideLayouts/slideLayout80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slideLayout" Target="../slideLayouts/slideLayout84.xml"/><Relationship Id="rId33" Type="http://schemas.openxmlformats.org/officeDocument/2006/relationships/image" Target="../media/image11.emf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79.xml"/><Relationship Id="rId29" Type="http://schemas.openxmlformats.org/officeDocument/2006/relationships/slideLayout" Target="../slideLayouts/slideLayout88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24" Type="http://schemas.openxmlformats.org/officeDocument/2006/relationships/slideLayout" Target="../slideLayouts/slideLayout83.xml"/><Relationship Id="rId32" Type="http://schemas.openxmlformats.org/officeDocument/2006/relationships/theme" Target="../theme/theme4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slideLayout" Target="../slideLayouts/slideLayout82.xml"/><Relationship Id="rId28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31" Type="http://schemas.openxmlformats.org/officeDocument/2006/relationships/slideLayout" Target="../slideLayouts/slideLayout90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slideLayout" Target="../slideLayouts/slideLayout81.xml"/><Relationship Id="rId27" Type="http://schemas.openxmlformats.org/officeDocument/2006/relationships/slideLayout" Target="../slideLayouts/slideLayout86.xml"/><Relationship Id="rId30" Type="http://schemas.openxmlformats.org/officeDocument/2006/relationships/slideLayout" Target="../slideLayouts/slideLayout89.xml"/><Relationship Id="rId8" Type="http://schemas.openxmlformats.org/officeDocument/2006/relationships/slideLayout" Target="../slideLayouts/slideLayout67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3.xml"/><Relationship Id="rId18" Type="http://schemas.openxmlformats.org/officeDocument/2006/relationships/slideLayout" Target="../slideLayouts/slideLayout108.xml"/><Relationship Id="rId26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93.xml"/><Relationship Id="rId21" Type="http://schemas.openxmlformats.org/officeDocument/2006/relationships/slideLayout" Target="../slideLayouts/slideLayout111.xml"/><Relationship Id="rId34" Type="http://schemas.openxmlformats.org/officeDocument/2006/relationships/image" Target="../media/image11.emf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17" Type="http://schemas.openxmlformats.org/officeDocument/2006/relationships/slideLayout" Target="../slideLayouts/slideLayout107.xml"/><Relationship Id="rId25" Type="http://schemas.openxmlformats.org/officeDocument/2006/relationships/slideLayout" Target="../slideLayouts/slideLayout115.xml"/><Relationship Id="rId33" Type="http://schemas.openxmlformats.org/officeDocument/2006/relationships/theme" Target="../theme/theme5.xml"/><Relationship Id="rId2" Type="http://schemas.openxmlformats.org/officeDocument/2006/relationships/slideLayout" Target="../slideLayouts/slideLayout92.xml"/><Relationship Id="rId16" Type="http://schemas.openxmlformats.org/officeDocument/2006/relationships/slideLayout" Target="../slideLayouts/slideLayout106.xml"/><Relationship Id="rId20" Type="http://schemas.openxmlformats.org/officeDocument/2006/relationships/slideLayout" Target="../slideLayouts/slideLayout110.xml"/><Relationship Id="rId29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24" Type="http://schemas.openxmlformats.org/officeDocument/2006/relationships/slideLayout" Target="../slideLayouts/slideLayout114.xml"/><Relationship Id="rId32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5.xml"/><Relationship Id="rId23" Type="http://schemas.openxmlformats.org/officeDocument/2006/relationships/slideLayout" Target="../slideLayouts/slideLayout113.xml"/><Relationship Id="rId28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00.xml"/><Relationship Id="rId19" Type="http://schemas.openxmlformats.org/officeDocument/2006/relationships/slideLayout" Target="../slideLayouts/slideLayout109.xml"/><Relationship Id="rId31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Relationship Id="rId22" Type="http://schemas.openxmlformats.org/officeDocument/2006/relationships/slideLayout" Target="../slideLayouts/slideLayout112.xml"/><Relationship Id="rId27" Type="http://schemas.openxmlformats.org/officeDocument/2006/relationships/slideLayout" Target="../slideLayouts/slideLayout117.xml"/><Relationship Id="rId30" Type="http://schemas.openxmlformats.org/officeDocument/2006/relationships/slideLayout" Target="../slideLayouts/slideLayout120.xml"/><Relationship Id="rId8" Type="http://schemas.openxmlformats.org/officeDocument/2006/relationships/slideLayout" Target="../slideLayouts/slideLayout9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0.xml"/><Relationship Id="rId13" Type="http://schemas.openxmlformats.org/officeDocument/2006/relationships/slideLayout" Target="../slideLayouts/slideLayout135.xml"/><Relationship Id="rId18" Type="http://schemas.openxmlformats.org/officeDocument/2006/relationships/theme" Target="../theme/theme6.xml"/><Relationship Id="rId3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129.xml"/><Relationship Id="rId12" Type="http://schemas.openxmlformats.org/officeDocument/2006/relationships/slideLayout" Target="../slideLayouts/slideLayout134.xml"/><Relationship Id="rId17" Type="http://schemas.openxmlformats.org/officeDocument/2006/relationships/slideLayout" Target="../slideLayouts/slideLayout139.xml"/><Relationship Id="rId2" Type="http://schemas.openxmlformats.org/officeDocument/2006/relationships/slideLayout" Target="../slideLayouts/slideLayout124.xml"/><Relationship Id="rId16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1" Type="http://schemas.openxmlformats.org/officeDocument/2006/relationships/slideLayout" Target="../slideLayouts/slideLayout133.xml"/><Relationship Id="rId5" Type="http://schemas.openxmlformats.org/officeDocument/2006/relationships/slideLayout" Target="../slideLayouts/slideLayout127.xml"/><Relationship Id="rId15" Type="http://schemas.openxmlformats.org/officeDocument/2006/relationships/slideLayout" Target="../slideLayouts/slideLayout137.xml"/><Relationship Id="rId10" Type="http://schemas.openxmlformats.org/officeDocument/2006/relationships/slideLayout" Target="../slideLayouts/slideLayout132.xml"/><Relationship Id="rId19" Type="http://schemas.openxmlformats.org/officeDocument/2006/relationships/image" Target="../media/image11.emf"/><Relationship Id="rId4" Type="http://schemas.openxmlformats.org/officeDocument/2006/relationships/slideLayout" Target="../slideLayouts/slideLayout126.xml"/><Relationship Id="rId9" Type="http://schemas.openxmlformats.org/officeDocument/2006/relationships/slideLayout" Target="../slideLayouts/slideLayout131.xml"/><Relationship Id="rId14" Type="http://schemas.openxmlformats.org/officeDocument/2006/relationships/slideLayout" Target="../slideLayouts/slideLayout13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7.xml"/><Relationship Id="rId13" Type="http://schemas.openxmlformats.org/officeDocument/2006/relationships/slideLayout" Target="../slideLayouts/slideLayout152.xml"/><Relationship Id="rId18" Type="http://schemas.openxmlformats.org/officeDocument/2006/relationships/image" Target="../media/image20.png"/><Relationship Id="rId3" Type="http://schemas.openxmlformats.org/officeDocument/2006/relationships/slideLayout" Target="../slideLayouts/slideLayout142.xml"/><Relationship Id="rId7" Type="http://schemas.openxmlformats.org/officeDocument/2006/relationships/slideLayout" Target="../slideLayouts/slideLayout146.xml"/><Relationship Id="rId12" Type="http://schemas.openxmlformats.org/officeDocument/2006/relationships/slideLayout" Target="../slideLayouts/slideLayout151.xml"/><Relationship Id="rId17" Type="http://schemas.openxmlformats.org/officeDocument/2006/relationships/theme" Target="../theme/theme7.xml"/><Relationship Id="rId2" Type="http://schemas.openxmlformats.org/officeDocument/2006/relationships/slideLayout" Target="../slideLayouts/slideLayout141.xml"/><Relationship Id="rId16" Type="http://schemas.openxmlformats.org/officeDocument/2006/relationships/slideLayout" Target="../slideLayouts/slideLayout155.xml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Relationship Id="rId11" Type="http://schemas.openxmlformats.org/officeDocument/2006/relationships/slideLayout" Target="../slideLayouts/slideLayout150.xml"/><Relationship Id="rId5" Type="http://schemas.openxmlformats.org/officeDocument/2006/relationships/slideLayout" Target="../slideLayouts/slideLayout144.xml"/><Relationship Id="rId15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49.xml"/><Relationship Id="rId4" Type="http://schemas.openxmlformats.org/officeDocument/2006/relationships/slideLayout" Target="../slideLayouts/slideLayout143.xml"/><Relationship Id="rId9" Type="http://schemas.openxmlformats.org/officeDocument/2006/relationships/slideLayout" Target="../slideLayouts/slideLayout148.xml"/><Relationship Id="rId14" Type="http://schemas.openxmlformats.org/officeDocument/2006/relationships/slideLayout" Target="../slideLayouts/slideLayout1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433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92C8FDE-342E-4B67-BCD6-51033B348E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2394E8-7BFD-4161-94A2-BEAE5B706C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09F1D9-F294-4C05-8C30-9AF986280F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7F3AE2-76F0-4389-A58B-213888197306}" type="datetimeFigureOut">
              <a:rPr lang="en-US" smtClean="0"/>
              <a:t>11/1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9DF7F4-2BAD-4FE6-A22F-DA614F06D7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56E81E-E16E-403F-A2C6-450B165048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07F004-A6FC-47C3-8D33-E6DA188563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2735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845" r:id="rId12"/>
    <p:sldLayoutId id="2147483850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3029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  <p:sldLayoutId id="2147483721" r:id="rId23"/>
    <p:sldLayoutId id="2147483722" r:id="rId24"/>
    <p:sldLayoutId id="2147483724" r:id="rId25"/>
    <p:sldLayoutId id="2147483726" r:id="rId26"/>
    <p:sldLayoutId id="2147483817" r:id="rId27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63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  <p:sldLayoutId id="2147483744" r:id="rId17"/>
    <p:sldLayoutId id="2147483745" r:id="rId18"/>
    <p:sldLayoutId id="2147483746" r:id="rId19"/>
    <p:sldLayoutId id="2147483747" r:id="rId20"/>
    <p:sldLayoutId id="2147483748" r:id="rId21"/>
    <p:sldLayoutId id="2147483749" r:id="rId22"/>
    <p:sldLayoutId id="2147483750" r:id="rId23"/>
    <p:sldLayoutId id="2147483751" r:id="rId24"/>
    <p:sldLayoutId id="2147483752" r:id="rId25"/>
    <p:sldLayoutId id="2147483794" r:id="rId26"/>
    <p:sldLayoutId id="2147483821" r:id="rId27"/>
    <p:sldLayoutId id="2147483846" r:id="rId28"/>
    <p:sldLayoutId id="2147483847" r:id="rId29"/>
    <p:sldLayoutId id="2147483848" r:id="rId30"/>
    <p:sldLayoutId id="2147483849" r:id="rId31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5010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  <p:sldLayoutId id="2147483768" r:id="rId13"/>
    <p:sldLayoutId id="2147483769" r:id="rId14"/>
    <p:sldLayoutId id="2147483770" r:id="rId15"/>
    <p:sldLayoutId id="2147483771" r:id="rId16"/>
    <p:sldLayoutId id="2147483772" r:id="rId17"/>
    <p:sldLayoutId id="2147483773" r:id="rId18"/>
    <p:sldLayoutId id="2147483774" r:id="rId19"/>
    <p:sldLayoutId id="2147483775" r:id="rId20"/>
    <p:sldLayoutId id="2147483776" r:id="rId21"/>
    <p:sldLayoutId id="2147483777" r:id="rId22"/>
    <p:sldLayoutId id="2147483778" r:id="rId23"/>
    <p:sldLayoutId id="2147483779" r:id="rId24"/>
    <p:sldLayoutId id="2147483780" r:id="rId25"/>
    <p:sldLayoutId id="2147483781" r:id="rId26"/>
    <p:sldLayoutId id="2147483782" r:id="rId27"/>
    <p:sldLayoutId id="2147483783" r:id="rId28"/>
    <p:sldLayoutId id="2147483784" r:id="rId29"/>
    <p:sldLayoutId id="2147483785" r:id="rId30"/>
    <p:sldLayoutId id="2147483786" r:id="rId31"/>
    <p:sldLayoutId id="2147483788" r:id="rId32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1607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  <p:sldLayoutId id="2147483811" r:id="rId12"/>
    <p:sldLayoutId id="2147483812" r:id="rId13"/>
    <p:sldLayoutId id="2147483813" r:id="rId14"/>
    <p:sldLayoutId id="2147483814" r:id="rId15"/>
    <p:sldLayoutId id="2147483815" r:id="rId16"/>
    <p:sldLayoutId id="2147483816" r:id="rId17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3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208748" y="2991035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526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  <p:sldLayoutId id="2147483834" r:id="rId12"/>
    <p:sldLayoutId id="2147483835" r:id="rId13"/>
    <p:sldLayoutId id="2147483837" r:id="rId14"/>
    <p:sldLayoutId id="2147483838" r:id="rId15"/>
    <p:sldLayoutId id="2147483839" r:id="rId16"/>
  </p:sldLayoutIdLst>
  <p:transition>
    <p:fade/>
  </p:transition>
  <p:txStyles>
    <p:titleStyle>
      <a:lvl1pPr algn="l" defTabSz="914016" rtl="0" eaLnBrk="1" latinLnBrk="0" hangingPunct="1">
        <a:lnSpc>
          <a:spcPct val="90000"/>
        </a:lnSpc>
        <a:spcBef>
          <a:spcPct val="0"/>
        </a:spcBef>
        <a:buNone/>
        <a:defRPr lang="en-US" sz="470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15" marR="0" indent="-336015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2"/>
        </a:buClr>
        <a:buSzPct val="90000"/>
        <a:buFont typeface="Arial" pitchFamily="34" charset="0"/>
        <a:buChar char="•"/>
        <a:tabLst/>
        <a:defRPr sz="372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1pPr>
      <a:lvl2pPr marL="572471" marR="0" indent="-236454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2"/>
        </a:buClr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2pPr>
      <a:lvl3pPr marL="784036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2"/>
        </a:buClr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3pPr>
      <a:lvl4pPr marL="1008047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2"/>
        </a:buClr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4pPr>
      <a:lvl5pPr marL="1232058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2"/>
        </a:buClr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5pPr>
      <a:lvl6pPr marL="2513543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552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7561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4569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07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016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4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032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04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048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05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06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8.xml"/><Relationship Id="rId6" Type="http://schemas.openxmlformats.org/officeDocument/2006/relationships/image" Target="../media/image47.emf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50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0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31.tif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1.png"/><Relationship Id="rId7" Type="http://schemas.openxmlformats.org/officeDocument/2006/relationships/image" Target="../media/image55.sv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54.png"/><Relationship Id="rId5" Type="http://schemas.openxmlformats.org/officeDocument/2006/relationships/image" Target="../media/image53.svg"/><Relationship Id="rId10" Type="http://schemas.openxmlformats.org/officeDocument/2006/relationships/image" Target="../media/image58.png"/><Relationship Id="rId4" Type="http://schemas.openxmlformats.org/officeDocument/2006/relationships/image" Target="../media/image52.png"/><Relationship Id="rId9" Type="http://schemas.openxmlformats.org/officeDocument/2006/relationships/image" Target="../media/image57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image" Target="../media/image60.png"/><Relationship Id="rId7" Type="http://schemas.openxmlformats.org/officeDocument/2006/relationships/image" Target="../media/image6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9.xml"/><Relationship Id="rId6" Type="http://schemas.openxmlformats.org/officeDocument/2006/relationships/image" Target="../media/image63.png"/><Relationship Id="rId5" Type="http://schemas.openxmlformats.org/officeDocument/2006/relationships/image" Target="../media/image62.emf"/><Relationship Id="rId10" Type="http://schemas.openxmlformats.org/officeDocument/2006/relationships/image" Target="../media/image67.png"/><Relationship Id="rId4" Type="http://schemas.openxmlformats.org/officeDocument/2006/relationships/image" Target="../media/image61.svg"/><Relationship Id="rId9" Type="http://schemas.openxmlformats.org/officeDocument/2006/relationships/image" Target="../media/image6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aka.ms/mlops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3.xml"/><Relationship Id="rId6" Type="http://schemas.openxmlformats.org/officeDocument/2006/relationships/hyperlink" Target="https://github.com/chronicle17/DSDevOps" TargetMode="External"/><Relationship Id="rId5" Type="http://schemas.openxmlformats.org/officeDocument/2006/relationships/hyperlink" Target="https://github.com/Microsoft/AIReferenceArchitectures" TargetMode="External"/><Relationship Id="rId4" Type="http://schemas.openxmlformats.org/officeDocument/2006/relationships/hyperlink" Target="https://github.com/Microsoft/MLOpsPython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linkedin.com/in/jasonvirtue" TargetMode="External"/><Relationship Id="rId2" Type="http://schemas.openxmlformats.org/officeDocument/2006/relationships/hyperlink" Target="https://microsoftanalystrelation.eventbuilder.com/event/9920/survey" TargetMode="External"/><Relationship Id="rId1" Type="http://schemas.openxmlformats.org/officeDocument/2006/relationships/slideLayout" Target="../slideLayouts/slideLayout63.xml"/><Relationship Id="rId4" Type="http://schemas.openxmlformats.org/officeDocument/2006/relationships/hyperlink" Target="https://www.linkedin.com/in/marktab/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3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67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18" Type="http://schemas.openxmlformats.org/officeDocument/2006/relationships/image" Target="../media/image42.png"/><Relationship Id="rId3" Type="http://schemas.openxmlformats.org/officeDocument/2006/relationships/image" Target="../media/image27.png"/><Relationship Id="rId7" Type="http://schemas.openxmlformats.org/officeDocument/2006/relationships/image" Target="../media/image31.tiff"/><Relationship Id="rId12" Type="http://schemas.openxmlformats.org/officeDocument/2006/relationships/image" Target="../media/image36.png"/><Relationship Id="rId17" Type="http://schemas.openxmlformats.org/officeDocument/2006/relationships/image" Target="../media/image41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40.png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5" Type="http://schemas.openxmlformats.org/officeDocument/2006/relationships/image" Target="../media/image39.jpeg"/><Relationship Id="rId10" Type="http://schemas.openxmlformats.org/officeDocument/2006/relationships/image" Target="../media/image34.jpg"/><Relationship Id="rId19" Type="http://schemas.openxmlformats.org/officeDocument/2006/relationships/image" Target="../media/image43.png"/><Relationship Id="rId4" Type="http://schemas.openxmlformats.org/officeDocument/2006/relationships/image" Target="../media/image28.png"/><Relationship Id="rId9" Type="http://schemas.openxmlformats.org/officeDocument/2006/relationships/image" Target="../media/image33.jpeg"/><Relationship Id="rId14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86CA5C-FC90-4360-AA1D-82C8132FEC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2831806"/>
            <a:ext cx="5783962" cy="701731"/>
          </a:xfrm>
        </p:spPr>
        <p:txBody>
          <a:bodyPr/>
          <a:lstStyle/>
          <a:p>
            <a:r>
              <a:rPr lang="en-US" dirty="0"/>
              <a:t>ML Ops – AI Inner Circ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978565-E5A0-4A83-AC21-D2926A88D5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2042" y="3962400"/>
            <a:ext cx="4561458" cy="96321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Mark Tabladillo, AI Engineer/Architect</a:t>
            </a:r>
          </a:p>
          <a:p>
            <a:pPr>
              <a:lnSpc>
                <a:spcPct val="150000"/>
              </a:lnSpc>
            </a:pPr>
            <a:r>
              <a:rPr lang="en-US" dirty="0"/>
              <a:t>Jason Virtue, Partner CSA</a:t>
            </a:r>
          </a:p>
        </p:txBody>
      </p:sp>
    </p:spTree>
    <p:extLst>
      <p:ext uri="{BB962C8B-B14F-4D97-AF65-F5344CB8AC3E}">
        <p14:creationId xmlns:p14="http://schemas.microsoft.com/office/powerpoint/2010/main" val="1506873129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itle 2">
            <a:extLst>
              <a:ext uri="{FF2B5EF4-FFF2-40B4-BE49-F238E27FC236}">
                <a16:creationId xmlns:a16="http://schemas.microsoft.com/office/drawing/2014/main" id="{319641BF-0E7B-43CC-8FB6-E346FF269F8F}"/>
              </a:ext>
            </a:extLst>
          </p:cNvPr>
          <p:cNvSpPr txBox="1">
            <a:spLocks/>
          </p:cNvSpPr>
          <p:nvPr/>
        </p:nvSpPr>
        <p:spPr>
          <a:xfrm>
            <a:off x="588263" y="457201"/>
            <a:ext cx="11018520" cy="769441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 algn="l" defTabSz="91419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4" b="0" kern="1200" cap="none" spc="-100" baseline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br>
              <a:rPr lang="en-US"/>
            </a:br>
            <a:endParaRPr lang="en-US" sz="1800" spc="-31">
              <a:solidFill>
                <a:schemeClr val="accent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1CD6BEB-4398-47E0-B836-A2A8DC5C606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6540" y="2094089"/>
            <a:ext cx="4530205" cy="2954655"/>
          </a:xfrm>
        </p:spPr>
        <p:txBody>
          <a:bodyPr/>
          <a:lstStyle/>
          <a:p>
            <a:pPr lvl="1"/>
            <a:r>
              <a:rPr lang="en-US" sz="4800" b="1" u="sng"/>
              <a:t>Azure </a:t>
            </a:r>
            <a:r>
              <a:rPr lang="en-US" sz="4800" b="1" u="sng" err="1"/>
              <a:t>MLOps</a:t>
            </a:r>
            <a:br>
              <a:rPr lang="en-US" sz="4800" b="1" u="sng"/>
            </a:br>
            <a:r>
              <a:rPr lang="en-US" sz="4800" b="1"/>
              <a:t>Helps You Bring ML to Production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D36671B2-4E12-4BC1-8BE4-D4F2BCF2BF04}"/>
              </a:ext>
            </a:extLst>
          </p:cNvPr>
          <p:cNvSpPr/>
          <p:nvPr/>
        </p:nvSpPr>
        <p:spPr bwMode="auto">
          <a:xfrm>
            <a:off x="5885323" y="812581"/>
            <a:ext cx="5400839" cy="5400839"/>
          </a:xfrm>
          <a:prstGeom prst="ellipse">
            <a:avLst/>
          </a:prstGeom>
          <a:ln w="12700" cap="sq">
            <a:solidFill>
              <a:schemeClr val="accent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169">
              <a:defRPr/>
            </a:pPr>
            <a:endParaRPr lang="en-US" sz="1765" err="1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B76C33A-6A1B-49F3-9D07-E2C6BF2A6241}"/>
              </a:ext>
            </a:extLst>
          </p:cNvPr>
          <p:cNvSpPr/>
          <p:nvPr/>
        </p:nvSpPr>
        <p:spPr bwMode="auto">
          <a:xfrm rot="20621471">
            <a:off x="10628005" y="2018375"/>
            <a:ext cx="702340" cy="123707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8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6ACD0EFB-3AC7-0D4B-B247-3A3CF740EE93}"/>
              </a:ext>
            </a:extLst>
          </p:cNvPr>
          <p:cNvSpPr/>
          <p:nvPr/>
        </p:nvSpPr>
        <p:spPr bwMode="auto">
          <a:xfrm>
            <a:off x="6431250" y="4720821"/>
            <a:ext cx="1010791" cy="1529595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0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92F9C066-AD08-7A4A-ACC1-A6EE38C27EA2}"/>
              </a:ext>
            </a:extLst>
          </p:cNvPr>
          <p:cNvSpPr/>
          <p:nvPr/>
        </p:nvSpPr>
        <p:spPr bwMode="auto">
          <a:xfrm>
            <a:off x="10210641" y="4977725"/>
            <a:ext cx="1178163" cy="127269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0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701A103-15AE-AE4A-9B9F-68B0C0A71AEA}"/>
              </a:ext>
            </a:extLst>
          </p:cNvPr>
          <p:cNvSpPr/>
          <p:nvPr/>
        </p:nvSpPr>
        <p:spPr bwMode="auto">
          <a:xfrm>
            <a:off x="5381554" y="2850356"/>
            <a:ext cx="1034727" cy="1200885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0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0609D5E1-9135-7944-9D38-BB89E4A0E250}"/>
              </a:ext>
            </a:extLst>
          </p:cNvPr>
          <p:cNvSpPr txBox="1"/>
          <p:nvPr/>
        </p:nvSpPr>
        <p:spPr>
          <a:xfrm>
            <a:off x="10267775" y="2745548"/>
            <a:ext cx="1630539" cy="3618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defTabSz="913993">
              <a:defRPr/>
            </a:pPr>
            <a:r>
              <a:rPr lang="en-US" sz="1176">
                <a:solidFill>
                  <a:prstClr val="black"/>
                </a:solidFill>
                <a:latin typeface="Segoe UI"/>
              </a:rPr>
              <a:t>Register and </a:t>
            </a:r>
            <a:br>
              <a:rPr lang="en-US" sz="1176">
                <a:solidFill>
                  <a:prstClr val="black"/>
                </a:solidFill>
                <a:latin typeface="Segoe UI"/>
              </a:rPr>
            </a:br>
            <a:r>
              <a:rPr lang="en-US" sz="1176">
                <a:solidFill>
                  <a:prstClr val="black"/>
                </a:solidFill>
                <a:latin typeface="Segoe UI"/>
              </a:rPr>
              <a:t>Manage Model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8A00FAC3-AEC4-4944-AB77-F6BFB8241EE7}"/>
              </a:ext>
            </a:extLst>
          </p:cNvPr>
          <p:cNvSpPr txBox="1"/>
          <p:nvPr/>
        </p:nvSpPr>
        <p:spPr>
          <a:xfrm>
            <a:off x="10185240" y="5485619"/>
            <a:ext cx="851629" cy="1809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defTabSz="913993">
              <a:defRPr/>
            </a:pPr>
            <a:r>
              <a:rPr lang="en-US" sz="1176">
                <a:solidFill>
                  <a:prstClr val="black"/>
                </a:solidFill>
                <a:latin typeface="Segoe UI"/>
              </a:rPr>
              <a:t>Build Image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730F2D3D-4A4E-1846-A0C1-0B556171E2C2}"/>
              </a:ext>
            </a:extLst>
          </p:cNvPr>
          <p:cNvSpPr txBox="1"/>
          <p:nvPr/>
        </p:nvSpPr>
        <p:spPr>
          <a:xfrm>
            <a:off x="4759471" y="3552772"/>
            <a:ext cx="2357987" cy="4219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defTabSz="913993">
              <a:defRPr/>
            </a:pPr>
            <a:r>
              <a:rPr lang="en-US" sz="1371">
                <a:solidFill>
                  <a:prstClr val="black"/>
                </a:solidFill>
                <a:latin typeface="Segoe UI"/>
              </a:rPr>
              <a:t>Build model </a:t>
            </a:r>
            <a:br>
              <a:rPr lang="en-US" sz="1371">
                <a:solidFill>
                  <a:prstClr val="black"/>
                </a:solidFill>
                <a:latin typeface="Segoe UI"/>
              </a:rPr>
            </a:br>
            <a:r>
              <a:rPr lang="en-US" sz="1371">
                <a:solidFill>
                  <a:prstClr val="black"/>
                </a:solidFill>
                <a:latin typeface="Segoe UI"/>
              </a:rPr>
              <a:t>(your favorite IDE)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746F5C88-567F-5548-98EB-AB897B28E1E7}"/>
              </a:ext>
            </a:extLst>
          </p:cNvPr>
          <p:cNvSpPr txBox="1"/>
          <p:nvPr/>
        </p:nvSpPr>
        <p:spPr>
          <a:xfrm>
            <a:off x="6136062" y="5598700"/>
            <a:ext cx="1678076" cy="3618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defTabSz="913993">
              <a:defRPr/>
            </a:pPr>
            <a:r>
              <a:rPr lang="en-US" sz="1176">
                <a:solidFill>
                  <a:prstClr val="black"/>
                </a:solidFill>
                <a:latin typeface="Segoe UI"/>
              </a:rPr>
              <a:t>Deploy Service</a:t>
            </a:r>
          </a:p>
          <a:p>
            <a:pPr defTabSz="913993">
              <a:defRPr/>
            </a:pPr>
            <a:r>
              <a:rPr lang="en-US" sz="1176">
                <a:solidFill>
                  <a:prstClr val="black"/>
                </a:solidFill>
                <a:latin typeface="Segoe UI"/>
              </a:rPr>
              <a:t>Monitor Model</a:t>
            </a:r>
          </a:p>
        </p:txBody>
      </p:sp>
      <p:grpSp>
        <p:nvGrpSpPr>
          <p:cNvPr id="172" name="Group 171">
            <a:extLst>
              <a:ext uri="{FF2B5EF4-FFF2-40B4-BE49-F238E27FC236}">
                <a16:creationId xmlns:a16="http://schemas.microsoft.com/office/drawing/2014/main" id="{099025A5-4D5D-E740-8A49-61CE2A0DA3C8}"/>
              </a:ext>
            </a:extLst>
          </p:cNvPr>
          <p:cNvGrpSpPr/>
          <p:nvPr/>
        </p:nvGrpSpPr>
        <p:grpSpPr>
          <a:xfrm>
            <a:off x="6581327" y="4939714"/>
            <a:ext cx="627160" cy="555681"/>
            <a:chOff x="10902845" y="2693238"/>
            <a:chExt cx="644231" cy="570807"/>
          </a:xfrm>
        </p:grpSpPr>
        <p:sp>
          <p:nvSpPr>
            <p:cNvPr id="173" name="Freeform 146">
              <a:extLst>
                <a:ext uri="{FF2B5EF4-FFF2-40B4-BE49-F238E27FC236}">
                  <a16:creationId xmlns:a16="http://schemas.microsoft.com/office/drawing/2014/main" id="{FA98D7FB-324E-6042-9CC0-C9155CD3139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902845" y="2693238"/>
              <a:ext cx="644231" cy="407997"/>
            </a:xfrm>
            <a:custGeom>
              <a:avLst/>
              <a:gdLst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246680 w 878349"/>
                <a:gd name="connsiteY17" fmla="*/ 161619 h 545581"/>
                <a:gd name="connsiteX18" fmla="*/ 490507 w 878349"/>
                <a:gd name="connsiteY18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12 h 545593"/>
                <a:gd name="connsiteX1" fmla="*/ 755129 w 878349"/>
                <a:gd name="connsiteY1" fmla="*/ 264634 h 545593"/>
                <a:gd name="connsiteX2" fmla="*/ 753041 w 878349"/>
                <a:gd name="connsiteY2" fmla="*/ 285343 h 545593"/>
                <a:gd name="connsiteX3" fmla="*/ 798544 w 878349"/>
                <a:gd name="connsiteY3" fmla="*/ 294530 h 545593"/>
                <a:gd name="connsiteX4" fmla="*/ 878349 w 878349"/>
                <a:gd name="connsiteY4" fmla="*/ 414927 h 545593"/>
                <a:gd name="connsiteX5" fmla="*/ 798544 w 878349"/>
                <a:gd name="connsiteY5" fmla="*/ 535325 h 545593"/>
                <a:gd name="connsiteX6" fmla="*/ 759827 w 878349"/>
                <a:gd name="connsiteY6" fmla="*/ 543141 h 545593"/>
                <a:gd name="connsiteX7" fmla="*/ 753908 w 878349"/>
                <a:gd name="connsiteY7" fmla="*/ 545593 h 545593"/>
                <a:gd name="connsiteX8" fmla="*/ 747683 w 878349"/>
                <a:gd name="connsiteY8" fmla="*/ 545593 h 545593"/>
                <a:gd name="connsiteX9" fmla="*/ 190471 w 878349"/>
                <a:gd name="connsiteY9" fmla="*/ 545593 h 545593"/>
                <a:gd name="connsiteX10" fmla="*/ 166602 w 878349"/>
                <a:gd name="connsiteY10" fmla="*/ 545593 h 545593"/>
                <a:gd name="connsiteX11" fmla="*/ 158924 w 878349"/>
                <a:gd name="connsiteY11" fmla="*/ 542413 h 545593"/>
                <a:gd name="connsiteX12" fmla="*/ 152084 w 878349"/>
                <a:gd name="connsiteY12" fmla="*/ 541724 h 545593"/>
                <a:gd name="connsiteX13" fmla="*/ 0 w 878349"/>
                <a:gd name="connsiteY13" fmla="*/ 355122 h 545593"/>
                <a:gd name="connsiteX14" fmla="*/ 190471 w 878349"/>
                <a:gd name="connsiteY14" fmla="*/ 164651 h 545593"/>
                <a:gd name="connsiteX15" fmla="*/ 228858 w 878349"/>
                <a:gd name="connsiteY15" fmla="*/ 168521 h 545593"/>
                <a:gd name="connsiteX16" fmla="*/ 244320 w 878349"/>
                <a:gd name="connsiteY16" fmla="*/ 173321 h 545593"/>
                <a:gd name="connsiteX17" fmla="*/ 490507 w 878349"/>
                <a:gd name="connsiteY17" fmla="*/ 12 h 545593"/>
                <a:gd name="connsiteX0" fmla="*/ 490507 w 878349"/>
                <a:gd name="connsiteY0" fmla="*/ 13 h 545594"/>
                <a:gd name="connsiteX1" fmla="*/ 755129 w 878349"/>
                <a:gd name="connsiteY1" fmla="*/ 264635 h 545594"/>
                <a:gd name="connsiteX2" fmla="*/ 753041 w 878349"/>
                <a:gd name="connsiteY2" fmla="*/ 285344 h 545594"/>
                <a:gd name="connsiteX3" fmla="*/ 798544 w 878349"/>
                <a:gd name="connsiteY3" fmla="*/ 294531 h 545594"/>
                <a:gd name="connsiteX4" fmla="*/ 878349 w 878349"/>
                <a:gd name="connsiteY4" fmla="*/ 414928 h 545594"/>
                <a:gd name="connsiteX5" fmla="*/ 798544 w 878349"/>
                <a:gd name="connsiteY5" fmla="*/ 535326 h 545594"/>
                <a:gd name="connsiteX6" fmla="*/ 759827 w 878349"/>
                <a:gd name="connsiteY6" fmla="*/ 543142 h 545594"/>
                <a:gd name="connsiteX7" fmla="*/ 753908 w 878349"/>
                <a:gd name="connsiteY7" fmla="*/ 545594 h 545594"/>
                <a:gd name="connsiteX8" fmla="*/ 747683 w 878349"/>
                <a:gd name="connsiteY8" fmla="*/ 545594 h 545594"/>
                <a:gd name="connsiteX9" fmla="*/ 190471 w 878349"/>
                <a:gd name="connsiteY9" fmla="*/ 545594 h 545594"/>
                <a:gd name="connsiteX10" fmla="*/ 166602 w 878349"/>
                <a:gd name="connsiteY10" fmla="*/ 545594 h 545594"/>
                <a:gd name="connsiteX11" fmla="*/ 158924 w 878349"/>
                <a:gd name="connsiteY11" fmla="*/ 542414 h 545594"/>
                <a:gd name="connsiteX12" fmla="*/ 152084 w 878349"/>
                <a:gd name="connsiteY12" fmla="*/ 541725 h 545594"/>
                <a:gd name="connsiteX13" fmla="*/ 0 w 878349"/>
                <a:gd name="connsiteY13" fmla="*/ 355123 h 545594"/>
                <a:gd name="connsiteX14" fmla="*/ 190471 w 878349"/>
                <a:gd name="connsiteY14" fmla="*/ 164652 h 545594"/>
                <a:gd name="connsiteX15" fmla="*/ 228858 w 878349"/>
                <a:gd name="connsiteY15" fmla="*/ 168522 h 545594"/>
                <a:gd name="connsiteX16" fmla="*/ 244320 w 878349"/>
                <a:gd name="connsiteY16" fmla="*/ 173322 h 545594"/>
                <a:gd name="connsiteX17" fmla="*/ 490507 w 878349"/>
                <a:gd name="connsiteY17" fmla="*/ 13 h 545594"/>
                <a:gd name="connsiteX0" fmla="*/ 490507 w 878349"/>
                <a:gd name="connsiteY0" fmla="*/ 471 h 546052"/>
                <a:gd name="connsiteX1" fmla="*/ 755129 w 878349"/>
                <a:gd name="connsiteY1" fmla="*/ 265093 h 546052"/>
                <a:gd name="connsiteX2" fmla="*/ 753041 w 878349"/>
                <a:gd name="connsiteY2" fmla="*/ 285802 h 546052"/>
                <a:gd name="connsiteX3" fmla="*/ 798544 w 878349"/>
                <a:gd name="connsiteY3" fmla="*/ 294989 h 546052"/>
                <a:gd name="connsiteX4" fmla="*/ 878349 w 878349"/>
                <a:gd name="connsiteY4" fmla="*/ 415386 h 546052"/>
                <a:gd name="connsiteX5" fmla="*/ 798544 w 878349"/>
                <a:gd name="connsiteY5" fmla="*/ 535784 h 546052"/>
                <a:gd name="connsiteX6" fmla="*/ 759827 w 878349"/>
                <a:gd name="connsiteY6" fmla="*/ 543600 h 546052"/>
                <a:gd name="connsiteX7" fmla="*/ 753908 w 878349"/>
                <a:gd name="connsiteY7" fmla="*/ 546052 h 546052"/>
                <a:gd name="connsiteX8" fmla="*/ 747683 w 878349"/>
                <a:gd name="connsiteY8" fmla="*/ 546052 h 546052"/>
                <a:gd name="connsiteX9" fmla="*/ 190471 w 878349"/>
                <a:gd name="connsiteY9" fmla="*/ 546052 h 546052"/>
                <a:gd name="connsiteX10" fmla="*/ 166602 w 878349"/>
                <a:gd name="connsiteY10" fmla="*/ 546052 h 546052"/>
                <a:gd name="connsiteX11" fmla="*/ 158924 w 878349"/>
                <a:gd name="connsiteY11" fmla="*/ 542872 h 546052"/>
                <a:gd name="connsiteX12" fmla="*/ 152084 w 878349"/>
                <a:gd name="connsiteY12" fmla="*/ 542183 h 546052"/>
                <a:gd name="connsiteX13" fmla="*/ 0 w 878349"/>
                <a:gd name="connsiteY13" fmla="*/ 355581 h 546052"/>
                <a:gd name="connsiteX14" fmla="*/ 190471 w 878349"/>
                <a:gd name="connsiteY14" fmla="*/ 165110 h 546052"/>
                <a:gd name="connsiteX15" fmla="*/ 228858 w 878349"/>
                <a:gd name="connsiteY15" fmla="*/ 168980 h 546052"/>
                <a:gd name="connsiteX16" fmla="*/ 244320 w 878349"/>
                <a:gd name="connsiteY16" fmla="*/ 173780 h 546052"/>
                <a:gd name="connsiteX17" fmla="*/ 490507 w 878349"/>
                <a:gd name="connsiteY17" fmla="*/ 471 h 546052"/>
                <a:gd name="connsiteX0" fmla="*/ 490507 w 878349"/>
                <a:gd name="connsiteY0" fmla="*/ 2380 h 547961"/>
                <a:gd name="connsiteX1" fmla="*/ 753041 w 878349"/>
                <a:gd name="connsiteY1" fmla="*/ 287711 h 547961"/>
                <a:gd name="connsiteX2" fmla="*/ 798544 w 878349"/>
                <a:gd name="connsiteY2" fmla="*/ 296898 h 547961"/>
                <a:gd name="connsiteX3" fmla="*/ 878349 w 878349"/>
                <a:gd name="connsiteY3" fmla="*/ 417295 h 547961"/>
                <a:gd name="connsiteX4" fmla="*/ 798544 w 878349"/>
                <a:gd name="connsiteY4" fmla="*/ 537693 h 547961"/>
                <a:gd name="connsiteX5" fmla="*/ 759827 w 878349"/>
                <a:gd name="connsiteY5" fmla="*/ 545509 h 547961"/>
                <a:gd name="connsiteX6" fmla="*/ 753908 w 878349"/>
                <a:gd name="connsiteY6" fmla="*/ 547961 h 547961"/>
                <a:gd name="connsiteX7" fmla="*/ 747683 w 878349"/>
                <a:gd name="connsiteY7" fmla="*/ 547961 h 547961"/>
                <a:gd name="connsiteX8" fmla="*/ 190471 w 878349"/>
                <a:gd name="connsiteY8" fmla="*/ 547961 h 547961"/>
                <a:gd name="connsiteX9" fmla="*/ 166602 w 878349"/>
                <a:gd name="connsiteY9" fmla="*/ 547961 h 547961"/>
                <a:gd name="connsiteX10" fmla="*/ 158924 w 878349"/>
                <a:gd name="connsiteY10" fmla="*/ 544781 h 547961"/>
                <a:gd name="connsiteX11" fmla="*/ 152084 w 878349"/>
                <a:gd name="connsiteY11" fmla="*/ 544092 h 547961"/>
                <a:gd name="connsiteX12" fmla="*/ 0 w 878349"/>
                <a:gd name="connsiteY12" fmla="*/ 357490 h 547961"/>
                <a:gd name="connsiteX13" fmla="*/ 190471 w 878349"/>
                <a:gd name="connsiteY13" fmla="*/ 167019 h 547961"/>
                <a:gd name="connsiteX14" fmla="*/ 228858 w 878349"/>
                <a:gd name="connsiteY14" fmla="*/ 170889 h 547961"/>
                <a:gd name="connsiteX15" fmla="*/ 244320 w 878349"/>
                <a:gd name="connsiteY15" fmla="*/ 175689 h 547961"/>
                <a:gd name="connsiteX16" fmla="*/ 490507 w 878349"/>
                <a:gd name="connsiteY16" fmla="*/ 2380 h 54796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526204 w 878349"/>
                <a:gd name="connsiteY0" fmla="*/ 25 h 542852"/>
                <a:gd name="connsiteX1" fmla="*/ 753041 w 878349"/>
                <a:gd name="connsiteY1" fmla="*/ 282602 h 542852"/>
                <a:gd name="connsiteX2" fmla="*/ 798544 w 878349"/>
                <a:gd name="connsiteY2" fmla="*/ 291789 h 542852"/>
                <a:gd name="connsiteX3" fmla="*/ 878349 w 878349"/>
                <a:gd name="connsiteY3" fmla="*/ 412186 h 542852"/>
                <a:gd name="connsiteX4" fmla="*/ 798544 w 878349"/>
                <a:gd name="connsiteY4" fmla="*/ 532584 h 542852"/>
                <a:gd name="connsiteX5" fmla="*/ 759827 w 878349"/>
                <a:gd name="connsiteY5" fmla="*/ 540400 h 542852"/>
                <a:gd name="connsiteX6" fmla="*/ 753908 w 878349"/>
                <a:gd name="connsiteY6" fmla="*/ 542852 h 542852"/>
                <a:gd name="connsiteX7" fmla="*/ 747683 w 878349"/>
                <a:gd name="connsiteY7" fmla="*/ 542852 h 542852"/>
                <a:gd name="connsiteX8" fmla="*/ 190471 w 878349"/>
                <a:gd name="connsiteY8" fmla="*/ 542852 h 542852"/>
                <a:gd name="connsiteX9" fmla="*/ 166602 w 878349"/>
                <a:gd name="connsiteY9" fmla="*/ 542852 h 542852"/>
                <a:gd name="connsiteX10" fmla="*/ 158924 w 878349"/>
                <a:gd name="connsiteY10" fmla="*/ 539672 h 542852"/>
                <a:gd name="connsiteX11" fmla="*/ 152084 w 878349"/>
                <a:gd name="connsiteY11" fmla="*/ 538983 h 542852"/>
                <a:gd name="connsiteX12" fmla="*/ 0 w 878349"/>
                <a:gd name="connsiteY12" fmla="*/ 352381 h 542852"/>
                <a:gd name="connsiteX13" fmla="*/ 190471 w 878349"/>
                <a:gd name="connsiteY13" fmla="*/ 161910 h 542852"/>
                <a:gd name="connsiteX14" fmla="*/ 228858 w 878349"/>
                <a:gd name="connsiteY14" fmla="*/ 165780 h 542852"/>
                <a:gd name="connsiteX15" fmla="*/ 244320 w 878349"/>
                <a:gd name="connsiteY15" fmla="*/ 170580 h 542852"/>
                <a:gd name="connsiteX16" fmla="*/ 526204 w 878349"/>
                <a:gd name="connsiteY16" fmla="*/ 25 h 542852"/>
                <a:gd name="connsiteX0" fmla="*/ 526204 w 878349"/>
                <a:gd name="connsiteY0" fmla="*/ 3284 h 546111"/>
                <a:gd name="connsiteX1" fmla="*/ 753041 w 878349"/>
                <a:gd name="connsiteY1" fmla="*/ 285861 h 546111"/>
                <a:gd name="connsiteX2" fmla="*/ 798544 w 878349"/>
                <a:gd name="connsiteY2" fmla="*/ 295048 h 546111"/>
                <a:gd name="connsiteX3" fmla="*/ 878349 w 878349"/>
                <a:gd name="connsiteY3" fmla="*/ 415445 h 546111"/>
                <a:gd name="connsiteX4" fmla="*/ 798544 w 878349"/>
                <a:gd name="connsiteY4" fmla="*/ 535843 h 546111"/>
                <a:gd name="connsiteX5" fmla="*/ 759827 w 878349"/>
                <a:gd name="connsiteY5" fmla="*/ 543659 h 546111"/>
                <a:gd name="connsiteX6" fmla="*/ 753908 w 878349"/>
                <a:gd name="connsiteY6" fmla="*/ 546111 h 546111"/>
                <a:gd name="connsiteX7" fmla="*/ 747683 w 878349"/>
                <a:gd name="connsiteY7" fmla="*/ 546111 h 546111"/>
                <a:gd name="connsiteX8" fmla="*/ 190471 w 878349"/>
                <a:gd name="connsiteY8" fmla="*/ 546111 h 546111"/>
                <a:gd name="connsiteX9" fmla="*/ 166602 w 878349"/>
                <a:gd name="connsiteY9" fmla="*/ 546111 h 546111"/>
                <a:gd name="connsiteX10" fmla="*/ 158924 w 878349"/>
                <a:gd name="connsiteY10" fmla="*/ 542931 h 546111"/>
                <a:gd name="connsiteX11" fmla="*/ 152084 w 878349"/>
                <a:gd name="connsiteY11" fmla="*/ 542242 h 546111"/>
                <a:gd name="connsiteX12" fmla="*/ 0 w 878349"/>
                <a:gd name="connsiteY12" fmla="*/ 355640 h 546111"/>
                <a:gd name="connsiteX13" fmla="*/ 190471 w 878349"/>
                <a:gd name="connsiteY13" fmla="*/ 165169 h 546111"/>
                <a:gd name="connsiteX14" fmla="*/ 228858 w 878349"/>
                <a:gd name="connsiteY14" fmla="*/ 169039 h 546111"/>
                <a:gd name="connsiteX15" fmla="*/ 244320 w 878349"/>
                <a:gd name="connsiteY15" fmla="*/ 173839 h 546111"/>
                <a:gd name="connsiteX16" fmla="*/ 526204 w 878349"/>
                <a:gd name="connsiteY16" fmla="*/ 3284 h 546111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912 h 543739"/>
                <a:gd name="connsiteX1" fmla="*/ 753041 w 878349"/>
                <a:gd name="connsiteY1" fmla="*/ 283489 h 543739"/>
                <a:gd name="connsiteX2" fmla="*/ 798544 w 878349"/>
                <a:gd name="connsiteY2" fmla="*/ 292676 h 543739"/>
                <a:gd name="connsiteX3" fmla="*/ 878349 w 878349"/>
                <a:gd name="connsiteY3" fmla="*/ 413073 h 543739"/>
                <a:gd name="connsiteX4" fmla="*/ 798544 w 878349"/>
                <a:gd name="connsiteY4" fmla="*/ 533471 h 543739"/>
                <a:gd name="connsiteX5" fmla="*/ 759827 w 878349"/>
                <a:gd name="connsiteY5" fmla="*/ 541287 h 543739"/>
                <a:gd name="connsiteX6" fmla="*/ 753908 w 878349"/>
                <a:gd name="connsiteY6" fmla="*/ 543739 h 543739"/>
                <a:gd name="connsiteX7" fmla="*/ 747683 w 878349"/>
                <a:gd name="connsiteY7" fmla="*/ 543739 h 543739"/>
                <a:gd name="connsiteX8" fmla="*/ 190471 w 878349"/>
                <a:gd name="connsiteY8" fmla="*/ 543739 h 543739"/>
                <a:gd name="connsiteX9" fmla="*/ 166602 w 878349"/>
                <a:gd name="connsiteY9" fmla="*/ 543739 h 543739"/>
                <a:gd name="connsiteX10" fmla="*/ 158924 w 878349"/>
                <a:gd name="connsiteY10" fmla="*/ 540559 h 543739"/>
                <a:gd name="connsiteX11" fmla="*/ 152084 w 878349"/>
                <a:gd name="connsiteY11" fmla="*/ 539870 h 543739"/>
                <a:gd name="connsiteX12" fmla="*/ 0 w 878349"/>
                <a:gd name="connsiteY12" fmla="*/ 353268 h 543739"/>
                <a:gd name="connsiteX13" fmla="*/ 190471 w 878349"/>
                <a:gd name="connsiteY13" fmla="*/ 162797 h 543739"/>
                <a:gd name="connsiteX14" fmla="*/ 228858 w 878349"/>
                <a:gd name="connsiteY14" fmla="*/ 166667 h 543739"/>
                <a:gd name="connsiteX15" fmla="*/ 244320 w 878349"/>
                <a:gd name="connsiteY15" fmla="*/ 171467 h 543739"/>
                <a:gd name="connsiteX16" fmla="*/ 526204 w 878349"/>
                <a:gd name="connsiteY16" fmla="*/ 912 h 543739"/>
                <a:gd name="connsiteX0" fmla="*/ 526204 w 878349"/>
                <a:gd name="connsiteY0" fmla="*/ 2110 h 544937"/>
                <a:gd name="connsiteX1" fmla="*/ 753041 w 878349"/>
                <a:gd name="connsiteY1" fmla="*/ 284687 h 544937"/>
                <a:gd name="connsiteX2" fmla="*/ 798544 w 878349"/>
                <a:gd name="connsiteY2" fmla="*/ 293874 h 544937"/>
                <a:gd name="connsiteX3" fmla="*/ 878349 w 878349"/>
                <a:gd name="connsiteY3" fmla="*/ 414271 h 544937"/>
                <a:gd name="connsiteX4" fmla="*/ 798544 w 878349"/>
                <a:gd name="connsiteY4" fmla="*/ 534669 h 544937"/>
                <a:gd name="connsiteX5" fmla="*/ 759827 w 878349"/>
                <a:gd name="connsiteY5" fmla="*/ 542485 h 544937"/>
                <a:gd name="connsiteX6" fmla="*/ 753908 w 878349"/>
                <a:gd name="connsiteY6" fmla="*/ 544937 h 544937"/>
                <a:gd name="connsiteX7" fmla="*/ 747683 w 878349"/>
                <a:gd name="connsiteY7" fmla="*/ 544937 h 544937"/>
                <a:gd name="connsiteX8" fmla="*/ 190471 w 878349"/>
                <a:gd name="connsiteY8" fmla="*/ 544937 h 544937"/>
                <a:gd name="connsiteX9" fmla="*/ 166602 w 878349"/>
                <a:gd name="connsiteY9" fmla="*/ 544937 h 544937"/>
                <a:gd name="connsiteX10" fmla="*/ 158924 w 878349"/>
                <a:gd name="connsiteY10" fmla="*/ 541757 h 544937"/>
                <a:gd name="connsiteX11" fmla="*/ 152084 w 878349"/>
                <a:gd name="connsiteY11" fmla="*/ 541068 h 544937"/>
                <a:gd name="connsiteX12" fmla="*/ 0 w 878349"/>
                <a:gd name="connsiteY12" fmla="*/ 354466 h 544937"/>
                <a:gd name="connsiteX13" fmla="*/ 190471 w 878349"/>
                <a:gd name="connsiteY13" fmla="*/ 163995 h 544937"/>
                <a:gd name="connsiteX14" fmla="*/ 228858 w 878349"/>
                <a:gd name="connsiteY14" fmla="*/ 167865 h 544937"/>
                <a:gd name="connsiteX15" fmla="*/ 244320 w 878349"/>
                <a:gd name="connsiteY15" fmla="*/ 172665 h 544937"/>
                <a:gd name="connsiteX16" fmla="*/ 526204 w 878349"/>
                <a:gd name="connsiteY16" fmla="*/ 2110 h 544937"/>
                <a:gd name="connsiteX0" fmla="*/ 526204 w 878349"/>
                <a:gd name="connsiteY0" fmla="*/ 2045 h 544872"/>
                <a:gd name="connsiteX1" fmla="*/ 753041 w 878349"/>
                <a:gd name="connsiteY1" fmla="*/ 284622 h 544872"/>
                <a:gd name="connsiteX2" fmla="*/ 798544 w 878349"/>
                <a:gd name="connsiteY2" fmla="*/ 293809 h 544872"/>
                <a:gd name="connsiteX3" fmla="*/ 878349 w 878349"/>
                <a:gd name="connsiteY3" fmla="*/ 414206 h 544872"/>
                <a:gd name="connsiteX4" fmla="*/ 798544 w 878349"/>
                <a:gd name="connsiteY4" fmla="*/ 534604 h 544872"/>
                <a:gd name="connsiteX5" fmla="*/ 759827 w 878349"/>
                <a:gd name="connsiteY5" fmla="*/ 542420 h 544872"/>
                <a:gd name="connsiteX6" fmla="*/ 753908 w 878349"/>
                <a:gd name="connsiteY6" fmla="*/ 544872 h 544872"/>
                <a:gd name="connsiteX7" fmla="*/ 747683 w 878349"/>
                <a:gd name="connsiteY7" fmla="*/ 544872 h 544872"/>
                <a:gd name="connsiteX8" fmla="*/ 190471 w 878349"/>
                <a:gd name="connsiteY8" fmla="*/ 544872 h 544872"/>
                <a:gd name="connsiteX9" fmla="*/ 166602 w 878349"/>
                <a:gd name="connsiteY9" fmla="*/ 544872 h 544872"/>
                <a:gd name="connsiteX10" fmla="*/ 158924 w 878349"/>
                <a:gd name="connsiteY10" fmla="*/ 541692 h 544872"/>
                <a:gd name="connsiteX11" fmla="*/ 152084 w 878349"/>
                <a:gd name="connsiteY11" fmla="*/ 541003 h 544872"/>
                <a:gd name="connsiteX12" fmla="*/ 0 w 878349"/>
                <a:gd name="connsiteY12" fmla="*/ 354401 h 544872"/>
                <a:gd name="connsiteX13" fmla="*/ 190471 w 878349"/>
                <a:gd name="connsiteY13" fmla="*/ 163930 h 544872"/>
                <a:gd name="connsiteX14" fmla="*/ 228858 w 878349"/>
                <a:gd name="connsiteY14" fmla="*/ 167800 h 544872"/>
                <a:gd name="connsiteX15" fmla="*/ 244320 w 878349"/>
                <a:gd name="connsiteY15" fmla="*/ 172600 h 544872"/>
                <a:gd name="connsiteX16" fmla="*/ 526204 w 878349"/>
                <a:gd name="connsiteY16" fmla="*/ 2045 h 544872"/>
                <a:gd name="connsiteX0" fmla="*/ 526204 w 878349"/>
                <a:gd name="connsiteY0" fmla="*/ 3099 h 545926"/>
                <a:gd name="connsiteX1" fmla="*/ 753041 w 878349"/>
                <a:gd name="connsiteY1" fmla="*/ 285676 h 545926"/>
                <a:gd name="connsiteX2" fmla="*/ 798544 w 878349"/>
                <a:gd name="connsiteY2" fmla="*/ 294863 h 545926"/>
                <a:gd name="connsiteX3" fmla="*/ 878349 w 878349"/>
                <a:gd name="connsiteY3" fmla="*/ 415260 h 545926"/>
                <a:gd name="connsiteX4" fmla="*/ 798544 w 878349"/>
                <a:gd name="connsiteY4" fmla="*/ 535658 h 545926"/>
                <a:gd name="connsiteX5" fmla="*/ 759827 w 878349"/>
                <a:gd name="connsiteY5" fmla="*/ 543474 h 545926"/>
                <a:gd name="connsiteX6" fmla="*/ 753908 w 878349"/>
                <a:gd name="connsiteY6" fmla="*/ 545926 h 545926"/>
                <a:gd name="connsiteX7" fmla="*/ 747683 w 878349"/>
                <a:gd name="connsiteY7" fmla="*/ 545926 h 545926"/>
                <a:gd name="connsiteX8" fmla="*/ 190471 w 878349"/>
                <a:gd name="connsiteY8" fmla="*/ 545926 h 545926"/>
                <a:gd name="connsiteX9" fmla="*/ 166602 w 878349"/>
                <a:gd name="connsiteY9" fmla="*/ 545926 h 545926"/>
                <a:gd name="connsiteX10" fmla="*/ 158924 w 878349"/>
                <a:gd name="connsiteY10" fmla="*/ 542746 h 545926"/>
                <a:gd name="connsiteX11" fmla="*/ 152084 w 878349"/>
                <a:gd name="connsiteY11" fmla="*/ 542057 h 545926"/>
                <a:gd name="connsiteX12" fmla="*/ 0 w 878349"/>
                <a:gd name="connsiteY12" fmla="*/ 355455 h 545926"/>
                <a:gd name="connsiteX13" fmla="*/ 190471 w 878349"/>
                <a:gd name="connsiteY13" fmla="*/ 164984 h 545926"/>
                <a:gd name="connsiteX14" fmla="*/ 228858 w 878349"/>
                <a:gd name="connsiteY14" fmla="*/ 168854 h 545926"/>
                <a:gd name="connsiteX15" fmla="*/ 244320 w 878349"/>
                <a:gd name="connsiteY15" fmla="*/ 173654 h 545926"/>
                <a:gd name="connsiteX16" fmla="*/ 526204 w 878349"/>
                <a:gd name="connsiteY16" fmla="*/ 3099 h 545926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798544 w 878349"/>
                <a:gd name="connsiteY2" fmla="*/ 294587 h 545650"/>
                <a:gd name="connsiteX3" fmla="*/ 878349 w 878349"/>
                <a:gd name="connsiteY3" fmla="*/ 414984 h 545650"/>
                <a:gd name="connsiteX4" fmla="*/ 798544 w 878349"/>
                <a:gd name="connsiteY4" fmla="*/ 535382 h 545650"/>
                <a:gd name="connsiteX5" fmla="*/ 759827 w 878349"/>
                <a:gd name="connsiteY5" fmla="*/ 543198 h 545650"/>
                <a:gd name="connsiteX6" fmla="*/ 753908 w 878349"/>
                <a:gd name="connsiteY6" fmla="*/ 545650 h 545650"/>
                <a:gd name="connsiteX7" fmla="*/ 747683 w 878349"/>
                <a:gd name="connsiteY7" fmla="*/ 545650 h 545650"/>
                <a:gd name="connsiteX8" fmla="*/ 190471 w 878349"/>
                <a:gd name="connsiteY8" fmla="*/ 545650 h 545650"/>
                <a:gd name="connsiteX9" fmla="*/ 166602 w 878349"/>
                <a:gd name="connsiteY9" fmla="*/ 545650 h 545650"/>
                <a:gd name="connsiteX10" fmla="*/ 158924 w 878349"/>
                <a:gd name="connsiteY10" fmla="*/ 542470 h 545650"/>
                <a:gd name="connsiteX11" fmla="*/ 152084 w 878349"/>
                <a:gd name="connsiteY11" fmla="*/ 541781 h 545650"/>
                <a:gd name="connsiteX12" fmla="*/ 0 w 878349"/>
                <a:gd name="connsiteY12" fmla="*/ 355179 h 545650"/>
                <a:gd name="connsiteX13" fmla="*/ 190471 w 878349"/>
                <a:gd name="connsiteY13" fmla="*/ 164708 h 545650"/>
                <a:gd name="connsiteX14" fmla="*/ 228858 w 878349"/>
                <a:gd name="connsiteY14" fmla="*/ 168578 h 545650"/>
                <a:gd name="connsiteX15" fmla="*/ 244320 w 878349"/>
                <a:gd name="connsiteY15" fmla="*/ 173378 h 545650"/>
                <a:gd name="connsiteX16" fmla="*/ 526204 w 878349"/>
                <a:gd name="connsiteY16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53908 w 878349"/>
                <a:gd name="connsiteY5" fmla="*/ 545650 h 545650"/>
                <a:gd name="connsiteX6" fmla="*/ 747683 w 878349"/>
                <a:gd name="connsiteY6" fmla="*/ 545650 h 545650"/>
                <a:gd name="connsiteX7" fmla="*/ 190471 w 878349"/>
                <a:gd name="connsiteY7" fmla="*/ 545650 h 545650"/>
                <a:gd name="connsiteX8" fmla="*/ 166602 w 878349"/>
                <a:gd name="connsiteY8" fmla="*/ 545650 h 545650"/>
                <a:gd name="connsiteX9" fmla="*/ 158924 w 878349"/>
                <a:gd name="connsiteY9" fmla="*/ 542470 h 545650"/>
                <a:gd name="connsiteX10" fmla="*/ 152084 w 878349"/>
                <a:gd name="connsiteY10" fmla="*/ 541781 h 545650"/>
                <a:gd name="connsiteX11" fmla="*/ 0 w 878349"/>
                <a:gd name="connsiteY11" fmla="*/ 355179 h 545650"/>
                <a:gd name="connsiteX12" fmla="*/ 190471 w 878349"/>
                <a:gd name="connsiteY12" fmla="*/ 164708 h 545650"/>
                <a:gd name="connsiteX13" fmla="*/ 228858 w 878349"/>
                <a:gd name="connsiteY13" fmla="*/ 168578 h 545650"/>
                <a:gd name="connsiteX14" fmla="*/ 244320 w 878349"/>
                <a:gd name="connsiteY14" fmla="*/ 173378 h 545650"/>
                <a:gd name="connsiteX15" fmla="*/ 526204 w 878349"/>
                <a:gd name="connsiteY15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47683 w 878349"/>
                <a:gd name="connsiteY5" fmla="*/ 545650 h 545650"/>
                <a:gd name="connsiteX6" fmla="*/ 190471 w 878349"/>
                <a:gd name="connsiteY6" fmla="*/ 545650 h 545650"/>
                <a:gd name="connsiteX7" fmla="*/ 166602 w 878349"/>
                <a:gd name="connsiteY7" fmla="*/ 545650 h 545650"/>
                <a:gd name="connsiteX8" fmla="*/ 158924 w 878349"/>
                <a:gd name="connsiteY8" fmla="*/ 542470 h 545650"/>
                <a:gd name="connsiteX9" fmla="*/ 152084 w 878349"/>
                <a:gd name="connsiteY9" fmla="*/ 541781 h 545650"/>
                <a:gd name="connsiteX10" fmla="*/ 0 w 878349"/>
                <a:gd name="connsiteY10" fmla="*/ 355179 h 545650"/>
                <a:gd name="connsiteX11" fmla="*/ 190471 w 878349"/>
                <a:gd name="connsiteY11" fmla="*/ 164708 h 545650"/>
                <a:gd name="connsiteX12" fmla="*/ 228858 w 878349"/>
                <a:gd name="connsiteY12" fmla="*/ 168578 h 545650"/>
                <a:gd name="connsiteX13" fmla="*/ 244320 w 878349"/>
                <a:gd name="connsiteY13" fmla="*/ 173378 h 545650"/>
                <a:gd name="connsiteX14" fmla="*/ 526204 w 878349"/>
                <a:gd name="connsiteY14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47683 w 878349"/>
                <a:gd name="connsiteY4" fmla="*/ 545650 h 545650"/>
                <a:gd name="connsiteX5" fmla="*/ 190471 w 878349"/>
                <a:gd name="connsiteY5" fmla="*/ 545650 h 545650"/>
                <a:gd name="connsiteX6" fmla="*/ 166602 w 878349"/>
                <a:gd name="connsiteY6" fmla="*/ 545650 h 545650"/>
                <a:gd name="connsiteX7" fmla="*/ 158924 w 878349"/>
                <a:gd name="connsiteY7" fmla="*/ 542470 h 545650"/>
                <a:gd name="connsiteX8" fmla="*/ 152084 w 878349"/>
                <a:gd name="connsiteY8" fmla="*/ 541781 h 545650"/>
                <a:gd name="connsiteX9" fmla="*/ 0 w 878349"/>
                <a:gd name="connsiteY9" fmla="*/ 355179 h 545650"/>
                <a:gd name="connsiteX10" fmla="*/ 190471 w 878349"/>
                <a:gd name="connsiteY10" fmla="*/ 164708 h 545650"/>
                <a:gd name="connsiteX11" fmla="*/ 228858 w 878349"/>
                <a:gd name="connsiteY11" fmla="*/ 168578 h 545650"/>
                <a:gd name="connsiteX12" fmla="*/ 244320 w 878349"/>
                <a:gd name="connsiteY12" fmla="*/ 173378 h 545650"/>
                <a:gd name="connsiteX13" fmla="*/ 526204 w 878349"/>
                <a:gd name="connsiteY13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60"/>
                <a:gd name="connsiteY0" fmla="*/ 2823 h 545650"/>
                <a:gd name="connsiteX1" fmla="*/ 753041 w 878360"/>
                <a:gd name="connsiteY1" fmla="*/ 285400 h 545650"/>
                <a:gd name="connsiteX2" fmla="*/ 878349 w 878360"/>
                <a:gd name="connsiteY2" fmla="*/ 414984 h 545650"/>
                <a:gd name="connsiteX3" fmla="*/ 747683 w 878360"/>
                <a:gd name="connsiteY3" fmla="*/ 545650 h 545650"/>
                <a:gd name="connsiteX4" fmla="*/ 190471 w 878360"/>
                <a:gd name="connsiteY4" fmla="*/ 545650 h 545650"/>
                <a:gd name="connsiteX5" fmla="*/ 166602 w 878360"/>
                <a:gd name="connsiteY5" fmla="*/ 545650 h 545650"/>
                <a:gd name="connsiteX6" fmla="*/ 158924 w 878360"/>
                <a:gd name="connsiteY6" fmla="*/ 542470 h 545650"/>
                <a:gd name="connsiteX7" fmla="*/ 152084 w 878360"/>
                <a:gd name="connsiteY7" fmla="*/ 541781 h 545650"/>
                <a:gd name="connsiteX8" fmla="*/ 0 w 878360"/>
                <a:gd name="connsiteY8" fmla="*/ 355179 h 545650"/>
                <a:gd name="connsiteX9" fmla="*/ 190471 w 878360"/>
                <a:gd name="connsiteY9" fmla="*/ 164708 h 545650"/>
                <a:gd name="connsiteX10" fmla="*/ 228858 w 878360"/>
                <a:gd name="connsiteY10" fmla="*/ 168578 h 545650"/>
                <a:gd name="connsiteX11" fmla="*/ 244320 w 878360"/>
                <a:gd name="connsiteY11" fmla="*/ 173378 h 545650"/>
                <a:gd name="connsiteX12" fmla="*/ 526204 w 878360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51"/>
                <a:gd name="connsiteY0" fmla="*/ 2823 h 545650"/>
                <a:gd name="connsiteX1" fmla="*/ 753041 w 878351"/>
                <a:gd name="connsiteY1" fmla="*/ 285400 h 545650"/>
                <a:gd name="connsiteX2" fmla="*/ 878349 w 878351"/>
                <a:gd name="connsiteY2" fmla="*/ 414984 h 545650"/>
                <a:gd name="connsiteX3" fmla="*/ 747683 w 878351"/>
                <a:gd name="connsiteY3" fmla="*/ 545650 h 545650"/>
                <a:gd name="connsiteX4" fmla="*/ 190471 w 878351"/>
                <a:gd name="connsiteY4" fmla="*/ 545650 h 545650"/>
                <a:gd name="connsiteX5" fmla="*/ 166602 w 878351"/>
                <a:gd name="connsiteY5" fmla="*/ 545650 h 545650"/>
                <a:gd name="connsiteX6" fmla="*/ 158924 w 878351"/>
                <a:gd name="connsiteY6" fmla="*/ 542470 h 545650"/>
                <a:gd name="connsiteX7" fmla="*/ 152084 w 878351"/>
                <a:gd name="connsiteY7" fmla="*/ 541781 h 545650"/>
                <a:gd name="connsiteX8" fmla="*/ 0 w 878351"/>
                <a:gd name="connsiteY8" fmla="*/ 355179 h 545650"/>
                <a:gd name="connsiteX9" fmla="*/ 190471 w 878351"/>
                <a:gd name="connsiteY9" fmla="*/ 164708 h 545650"/>
                <a:gd name="connsiteX10" fmla="*/ 228858 w 878351"/>
                <a:gd name="connsiteY10" fmla="*/ 168578 h 545650"/>
                <a:gd name="connsiteX11" fmla="*/ 244320 w 878351"/>
                <a:gd name="connsiteY11" fmla="*/ 173378 h 545650"/>
                <a:gd name="connsiteX12" fmla="*/ 526204 w 878351"/>
                <a:gd name="connsiteY12" fmla="*/ 2823 h 545650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7585 w 879730"/>
                <a:gd name="connsiteY0" fmla="*/ 2823 h 545651"/>
                <a:gd name="connsiteX1" fmla="*/ 754422 w 879730"/>
                <a:gd name="connsiteY1" fmla="*/ 285400 h 545651"/>
                <a:gd name="connsiteX2" fmla="*/ 879730 w 879730"/>
                <a:gd name="connsiteY2" fmla="*/ 414984 h 545651"/>
                <a:gd name="connsiteX3" fmla="*/ 749064 w 879730"/>
                <a:gd name="connsiteY3" fmla="*/ 545650 h 545651"/>
                <a:gd name="connsiteX4" fmla="*/ 191852 w 879730"/>
                <a:gd name="connsiteY4" fmla="*/ 545650 h 545651"/>
                <a:gd name="connsiteX5" fmla="*/ 167983 w 879730"/>
                <a:gd name="connsiteY5" fmla="*/ 545650 h 545651"/>
                <a:gd name="connsiteX6" fmla="*/ 160305 w 879730"/>
                <a:gd name="connsiteY6" fmla="*/ 542470 h 545651"/>
                <a:gd name="connsiteX7" fmla="*/ 153465 w 879730"/>
                <a:gd name="connsiteY7" fmla="*/ 541781 h 545651"/>
                <a:gd name="connsiteX8" fmla="*/ 1381 w 879730"/>
                <a:gd name="connsiteY8" fmla="*/ 355179 h 545651"/>
                <a:gd name="connsiteX9" fmla="*/ 230239 w 879730"/>
                <a:gd name="connsiteY9" fmla="*/ 168578 h 545651"/>
                <a:gd name="connsiteX10" fmla="*/ 245701 w 879730"/>
                <a:gd name="connsiteY10" fmla="*/ 173378 h 545651"/>
                <a:gd name="connsiteX11" fmla="*/ 527585 w 879730"/>
                <a:gd name="connsiteY11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6208 w 878353"/>
                <a:gd name="connsiteY0" fmla="*/ 2823 h 545651"/>
                <a:gd name="connsiteX1" fmla="*/ 753045 w 878353"/>
                <a:gd name="connsiteY1" fmla="*/ 285400 h 545651"/>
                <a:gd name="connsiteX2" fmla="*/ 878353 w 878353"/>
                <a:gd name="connsiteY2" fmla="*/ 414984 h 545651"/>
                <a:gd name="connsiteX3" fmla="*/ 747687 w 878353"/>
                <a:gd name="connsiteY3" fmla="*/ 545650 h 545651"/>
                <a:gd name="connsiteX4" fmla="*/ 190475 w 878353"/>
                <a:gd name="connsiteY4" fmla="*/ 545650 h 545651"/>
                <a:gd name="connsiteX5" fmla="*/ 166606 w 878353"/>
                <a:gd name="connsiteY5" fmla="*/ 545650 h 545651"/>
                <a:gd name="connsiteX6" fmla="*/ 158928 w 878353"/>
                <a:gd name="connsiteY6" fmla="*/ 542470 h 545651"/>
                <a:gd name="connsiteX7" fmla="*/ 152088 w 878353"/>
                <a:gd name="connsiteY7" fmla="*/ 541781 h 545651"/>
                <a:gd name="connsiteX8" fmla="*/ 4 w 878353"/>
                <a:gd name="connsiteY8" fmla="*/ 355179 h 545651"/>
                <a:gd name="connsiteX9" fmla="*/ 244324 w 878353"/>
                <a:gd name="connsiteY9" fmla="*/ 173378 h 545651"/>
                <a:gd name="connsiteX10" fmla="*/ 526208 w 878353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66614 w 878361"/>
                <a:gd name="connsiteY5" fmla="*/ 545650 h 545651"/>
                <a:gd name="connsiteX6" fmla="*/ 158936 w 878361"/>
                <a:gd name="connsiteY6" fmla="*/ 542470 h 545651"/>
                <a:gd name="connsiteX7" fmla="*/ 152096 w 878361"/>
                <a:gd name="connsiteY7" fmla="*/ 541781 h 545651"/>
                <a:gd name="connsiteX8" fmla="*/ 12 w 878361"/>
                <a:gd name="connsiteY8" fmla="*/ 355179 h 545651"/>
                <a:gd name="connsiteX9" fmla="*/ 244332 w 878361"/>
                <a:gd name="connsiteY9" fmla="*/ 173378 h 545651"/>
                <a:gd name="connsiteX10" fmla="*/ 526216 w 878361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8936 w 878361"/>
                <a:gd name="connsiteY5" fmla="*/ 542470 h 545651"/>
                <a:gd name="connsiteX6" fmla="*/ 152096 w 878361"/>
                <a:gd name="connsiteY6" fmla="*/ 541781 h 545651"/>
                <a:gd name="connsiteX7" fmla="*/ 12 w 878361"/>
                <a:gd name="connsiteY7" fmla="*/ 355179 h 545651"/>
                <a:gd name="connsiteX8" fmla="*/ 244332 w 878361"/>
                <a:gd name="connsiteY8" fmla="*/ 173378 h 545651"/>
                <a:gd name="connsiteX9" fmla="*/ 526216 w 878361"/>
                <a:gd name="connsiteY9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2096 w 878361"/>
                <a:gd name="connsiteY5" fmla="*/ 541781 h 545651"/>
                <a:gd name="connsiteX6" fmla="*/ 12 w 878361"/>
                <a:gd name="connsiteY6" fmla="*/ 355179 h 545651"/>
                <a:gd name="connsiteX7" fmla="*/ 244332 w 878361"/>
                <a:gd name="connsiteY7" fmla="*/ 173378 h 545651"/>
                <a:gd name="connsiteX8" fmla="*/ 526216 w 878361"/>
                <a:gd name="connsiteY8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2 w 878361"/>
                <a:gd name="connsiteY5" fmla="*/ 355179 h 545651"/>
                <a:gd name="connsiteX6" fmla="*/ 244332 w 878361"/>
                <a:gd name="connsiteY6" fmla="*/ 173378 h 545651"/>
                <a:gd name="connsiteX7" fmla="*/ 526216 w 878361"/>
                <a:gd name="connsiteY7" fmla="*/ 2823 h 545651"/>
                <a:gd name="connsiteX0" fmla="*/ 528231 w 880376"/>
                <a:gd name="connsiteY0" fmla="*/ 2823 h 545651"/>
                <a:gd name="connsiteX1" fmla="*/ 755068 w 880376"/>
                <a:gd name="connsiteY1" fmla="*/ 285400 h 545651"/>
                <a:gd name="connsiteX2" fmla="*/ 880376 w 880376"/>
                <a:gd name="connsiteY2" fmla="*/ 414984 h 545651"/>
                <a:gd name="connsiteX3" fmla="*/ 749710 w 880376"/>
                <a:gd name="connsiteY3" fmla="*/ 545650 h 545651"/>
                <a:gd name="connsiteX4" fmla="*/ 192498 w 880376"/>
                <a:gd name="connsiteY4" fmla="*/ 545650 h 545651"/>
                <a:gd name="connsiteX5" fmla="*/ 2027 w 880376"/>
                <a:gd name="connsiteY5" fmla="*/ 355179 h 545651"/>
                <a:gd name="connsiteX6" fmla="*/ 246347 w 880376"/>
                <a:gd name="connsiteY6" fmla="*/ 173378 h 545651"/>
                <a:gd name="connsiteX7" fmla="*/ 528231 w 880376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245 w 878390"/>
                <a:gd name="connsiteY0" fmla="*/ 2823 h 545651"/>
                <a:gd name="connsiteX1" fmla="*/ 753082 w 878390"/>
                <a:gd name="connsiteY1" fmla="*/ 285400 h 545651"/>
                <a:gd name="connsiteX2" fmla="*/ 878390 w 878390"/>
                <a:gd name="connsiteY2" fmla="*/ 414984 h 545651"/>
                <a:gd name="connsiteX3" fmla="*/ 747724 w 878390"/>
                <a:gd name="connsiteY3" fmla="*/ 545650 h 545651"/>
                <a:gd name="connsiteX4" fmla="*/ 190512 w 878390"/>
                <a:gd name="connsiteY4" fmla="*/ 545650 h 545651"/>
                <a:gd name="connsiteX5" fmla="*/ 41 w 878390"/>
                <a:gd name="connsiteY5" fmla="*/ 355179 h 545651"/>
                <a:gd name="connsiteX6" fmla="*/ 244361 w 878390"/>
                <a:gd name="connsiteY6" fmla="*/ 173378 h 545651"/>
                <a:gd name="connsiteX7" fmla="*/ 526245 w 878390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721 w 878866"/>
                <a:gd name="connsiteY0" fmla="*/ 2823 h 545651"/>
                <a:gd name="connsiteX1" fmla="*/ 753558 w 878866"/>
                <a:gd name="connsiteY1" fmla="*/ 285400 h 545651"/>
                <a:gd name="connsiteX2" fmla="*/ 878866 w 878866"/>
                <a:gd name="connsiteY2" fmla="*/ 414984 h 545651"/>
                <a:gd name="connsiteX3" fmla="*/ 748200 w 878866"/>
                <a:gd name="connsiteY3" fmla="*/ 545650 h 545651"/>
                <a:gd name="connsiteX4" fmla="*/ 190988 w 878866"/>
                <a:gd name="connsiteY4" fmla="*/ 545650 h 545651"/>
                <a:gd name="connsiteX5" fmla="*/ 517 w 878866"/>
                <a:gd name="connsiteY5" fmla="*/ 355179 h 545651"/>
                <a:gd name="connsiteX6" fmla="*/ 244837 w 878866"/>
                <a:gd name="connsiteY6" fmla="*/ 173378 h 545651"/>
                <a:gd name="connsiteX7" fmla="*/ 526721 w 878866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8391" h="545651">
                  <a:moveTo>
                    <a:pt x="526246" y="2823"/>
                  </a:moveTo>
                  <a:cubicBezTo>
                    <a:pt x="663881" y="24023"/>
                    <a:pt x="772336" y="152517"/>
                    <a:pt x="753083" y="285400"/>
                  </a:cubicBezTo>
                  <a:cubicBezTo>
                    <a:pt x="852208" y="299089"/>
                    <a:pt x="878212" y="375742"/>
                    <a:pt x="878391" y="414984"/>
                  </a:cubicBezTo>
                  <a:cubicBezTo>
                    <a:pt x="878627" y="466609"/>
                    <a:pt x="833938" y="546043"/>
                    <a:pt x="747725" y="545650"/>
                  </a:cubicBezTo>
                  <a:lnTo>
                    <a:pt x="190513" y="545650"/>
                  </a:lnTo>
                  <a:cubicBezTo>
                    <a:pt x="77130" y="544985"/>
                    <a:pt x="2268" y="445667"/>
                    <a:pt x="42" y="355179"/>
                  </a:cubicBezTo>
                  <a:cubicBezTo>
                    <a:pt x="-2184" y="264691"/>
                    <a:pt x="84465" y="123521"/>
                    <a:pt x="244362" y="173378"/>
                  </a:cubicBezTo>
                  <a:cubicBezTo>
                    <a:pt x="271526" y="75658"/>
                    <a:pt x="394045" y="-17540"/>
                    <a:pt x="526246" y="2823"/>
                  </a:cubicBezTo>
                  <a:close/>
                </a:path>
              </a:pathLst>
            </a:custGeom>
            <a:noFill/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5711" tIns="140568" rIns="175711" bIns="14056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957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1921" b="1">
                <a:solidFill>
                  <a:srgbClr val="FFFFFF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8D7E42D0-D9EC-F944-9892-610A464CAAE7}"/>
                </a:ext>
              </a:extLst>
            </p:cNvPr>
            <p:cNvSpPr/>
            <p:nvPr/>
          </p:nvSpPr>
          <p:spPr bwMode="auto">
            <a:xfrm>
              <a:off x="11138157" y="3021086"/>
              <a:ext cx="205040" cy="148466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0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175" name="Straight Arrow Connector 174">
              <a:extLst>
                <a:ext uri="{FF2B5EF4-FFF2-40B4-BE49-F238E27FC236}">
                  <a16:creationId xmlns:a16="http://schemas.microsoft.com/office/drawing/2014/main" id="{00DEBDC6-6492-F148-8E12-49D6CD21A2E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245742" y="2947705"/>
              <a:ext cx="0" cy="316340"/>
            </a:xfrm>
            <a:prstGeom prst="straightConnector1">
              <a:avLst/>
            </a:prstGeom>
            <a:ln w="12700">
              <a:solidFill>
                <a:schemeClr val="tx2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A86BB0FF-4AC9-DF44-A0D3-7DA0508F9A30}"/>
              </a:ext>
            </a:extLst>
          </p:cNvPr>
          <p:cNvGrpSpPr/>
          <p:nvPr/>
        </p:nvGrpSpPr>
        <p:grpSpPr>
          <a:xfrm rot="1800000">
            <a:off x="10786431" y="1954183"/>
            <a:ext cx="593219" cy="687491"/>
            <a:chOff x="6281977" y="1925712"/>
            <a:chExt cx="609366" cy="706203"/>
          </a:xfrm>
        </p:grpSpPr>
        <p:sp>
          <p:nvSpPr>
            <p:cNvPr id="177" name="Hexagon 176">
              <a:extLst>
                <a:ext uri="{FF2B5EF4-FFF2-40B4-BE49-F238E27FC236}">
                  <a16:creationId xmlns:a16="http://schemas.microsoft.com/office/drawing/2014/main" id="{525929D0-BBE2-7549-BF50-EE6F390F4136}"/>
                </a:ext>
              </a:extLst>
            </p:cNvPr>
            <p:cNvSpPr/>
            <p:nvPr/>
          </p:nvSpPr>
          <p:spPr bwMode="auto">
            <a:xfrm rot="16200000">
              <a:off x="6261742" y="2000529"/>
              <a:ext cx="651443" cy="557784"/>
            </a:xfrm>
            <a:prstGeom prst="hexagon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0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9C105D50-BBEE-1845-90BC-0EF30FC08E51}"/>
                </a:ext>
              </a:extLst>
            </p:cNvPr>
            <p:cNvCxnSpPr>
              <a:cxnSpLocks/>
              <a:stCxn id="177" idx="3"/>
              <a:endCxn id="177" idx="0"/>
            </p:cNvCxnSpPr>
            <p:nvPr/>
          </p:nvCxnSpPr>
          <p:spPr>
            <a:xfrm flipV="1">
              <a:off x="6587464" y="1953700"/>
              <a:ext cx="0" cy="651443"/>
            </a:xfrm>
            <a:prstGeom prst="line">
              <a:avLst/>
            </a:prstGeom>
            <a:ln w="12700">
              <a:solidFill>
                <a:schemeClr val="accent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9" name="Group 178">
              <a:extLst>
                <a:ext uri="{FF2B5EF4-FFF2-40B4-BE49-F238E27FC236}">
                  <a16:creationId xmlns:a16="http://schemas.microsoft.com/office/drawing/2014/main" id="{5666BB99-699A-BB4A-A87F-433E1A3B07F5}"/>
                </a:ext>
              </a:extLst>
            </p:cNvPr>
            <p:cNvGrpSpPr/>
            <p:nvPr/>
          </p:nvGrpSpPr>
          <p:grpSpPr>
            <a:xfrm>
              <a:off x="6584950" y="2093649"/>
              <a:ext cx="281406" cy="372551"/>
              <a:chOff x="6584950" y="2093146"/>
              <a:chExt cx="281406" cy="372551"/>
            </a:xfrm>
          </p:grpSpPr>
          <p:cxnSp>
            <p:nvCxnSpPr>
              <p:cNvPr id="192" name="Straight Connector 191">
                <a:extLst>
                  <a:ext uri="{FF2B5EF4-FFF2-40B4-BE49-F238E27FC236}">
                    <a16:creationId xmlns:a16="http://schemas.microsoft.com/office/drawing/2014/main" id="{A7077814-1982-794A-B409-3D6FBED1A944}"/>
                  </a:ext>
                </a:extLst>
              </p:cNvPr>
              <p:cNvCxnSpPr>
                <a:cxnSpLocks/>
                <a:stCxn id="177" idx="2"/>
              </p:cNvCxnSpPr>
              <p:nvPr/>
            </p:nvCxnSpPr>
            <p:spPr>
              <a:xfrm flipH="1" flipV="1">
                <a:off x="6584950" y="2415525"/>
                <a:ext cx="281406" cy="50172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3" name="Straight Connector 192">
                <a:extLst>
                  <a:ext uri="{FF2B5EF4-FFF2-40B4-BE49-F238E27FC236}">
                    <a16:creationId xmlns:a16="http://schemas.microsoft.com/office/drawing/2014/main" id="{C4E38DD5-96BD-6E4A-BD6D-9806C6143270}"/>
                  </a:ext>
                </a:extLst>
              </p:cNvPr>
              <p:cNvCxnSpPr>
                <a:cxnSpLocks/>
                <a:stCxn id="177" idx="1"/>
              </p:cNvCxnSpPr>
              <p:nvPr/>
            </p:nvCxnSpPr>
            <p:spPr>
              <a:xfrm flipH="1">
                <a:off x="6584950" y="2093146"/>
                <a:ext cx="281406" cy="110304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Straight Connector 193">
                <a:extLst>
                  <a:ext uri="{FF2B5EF4-FFF2-40B4-BE49-F238E27FC236}">
                    <a16:creationId xmlns:a16="http://schemas.microsoft.com/office/drawing/2014/main" id="{94323C2B-5C8D-D940-8C97-7697AFFA4C4E}"/>
                  </a:ext>
                </a:extLst>
              </p:cNvPr>
              <p:cNvCxnSpPr>
                <a:cxnSpLocks/>
                <a:stCxn id="177" idx="1"/>
              </p:cNvCxnSpPr>
              <p:nvPr/>
            </p:nvCxnSpPr>
            <p:spPr>
              <a:xfrm flipH="1">
                <a:off x="6584950" y="2093146"/>
                <a:ext cx="281406" cy="322378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0" name="Group 179">
              <a:extLst>
                <a:ext uri="{FF2B5EF4-FFF2-40B4-BE49-F238E27FC236}">
                  <a16:creationId xmlns:a16="http://schemas.microsoft.com/office/drawing/2014/main" id="{50BC3873-06AC-EF47-9509-95E76B7BAE33}"/>
                </a:ext>
              </a:extLst>
            </p:cNvPr>
            <p:cNvGrpSpPr/>
            <p:nvPr/>
          </p:nvGrpSpPr>
          <p:grpSpPr>
            <a:xfrm flipH="1">
              <a:off x="6304801" y="2093649"/>
              <a:ext cx="281406" cy="372551"/>
              <a:chOff x="6584950" y="2093146"/>
              <a:chExt cx="281406" cy="372551"/>
            </a:xfrm>
          </p:grpSpPr>
          <p:cxnSp>
            <p:nvCxnSpPr>
              <p:cNvPr id="189" name="Straight Connector 188">
                <a:extLst>
                  <a:ext uri="{FF2B5EF4-FFF2-40B4-BE49-F238E27FC236}">
                    <a16:creationId xmlns:a16="http://schemas.microsoft.com/office/drawing/2014/main" id="{021D98BA-5720-0D4F-BC0F-E2B3C6C0A60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584950" y="2415525"/>
                <a:ext cx="281406" cy="50172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Straight Connector 189">
                <a:extLst>
                  <a:ext uri="{FF2B5EF4-FFF2-40B4-BE49-F238E27FC236}">
                    <a16:creationId xmlns:a16="http://schemas.microsoft.com/office/drawing/2014/main" id="{C28ED1E1-FE46-D14E-B6B5-FA134E8017A7}"/>
                  </a:ext>
                </a:extLst>
              </p:cNvPr>
              <p:cNvCxnSpPr/>
              <p:nvPr/>
            </p:nvCxnSpPr>
            <p:spPr>
              <a:xfrm flipH="1">
                <a:off x="6584950" y="2093146"/>
                <a:ext cx="281406" cy="110304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1" name="Straight Connector 190">
                <a:extLst>
                  <a:ext uri="{FF2B5EF4-FFF2-40B4-BE49-F238E27FC236}">
                    <a16:creationId xmlns:a16="http://schemas.microsoft.com/office/drawing/2014/main" id="{52B3EA98-E9C3-9241-BF96-AF61696A0B9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584950" y="2093146"/>
                <a:ext cx="281406" cy="322378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1" name="Oval 180">
              <a:extLst>
                <a:ext uri="{FF2B5EF4-FFF2-40B4-BE49-F238E27FC236}">
                  <a16:creationId xmlns:a16="http://schemas.microsoft.com/office/drawing/2014/main" id="{28D8B1C0-9C53-DA40-8086-BD304ADF2DA6}"/>
                </a:ext>
              </a:extLst>
            </p:cNvPr>
            <p:cNvSpPr/>
            <p:nvPr/>
          </p:nvSpPr>
          <p:spPr bwMode="auto">
            <a:xfrm>
              <a:off x="6281977" y="2066999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0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2" name="Oval 181">
              <a:extLst>
                <a:ext uri="{FF2B5EF4-FFF2-40B4-BE49-F238E27FC236}">
                  <a16:creationId xmlns:a16="http://schemas.microsoft.com/office/drawing/2014/main" id="{61BA9DB7-16AE-A14C-85C2-1A70346706A5}"/>
                </a:ext>
              </a:extLst>
            </p:cNvPr>
            <p:cNvSpPr/>
            <p:nvPr/>
          </p:nvSpPr>
          <p:spPr bwMode="auto">
            <a:xfrm>
              <a:off x="6558202" y="2173362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0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F92A4BCE-3077-D54C-ABDB-62E0CC9D0B6C}"/>
                </a:ext>
              </a:extLst>
            </p:cNvPr>
            <p:cNvSpPr/>
            <p:nvPr/>
          </p:nvSpPr>
          <p:spPr bwMode="auto">
            <a:xfrm>
              <a:off x="6831252" y="2066999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0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4" name="Oval 183">
              <a:extLst>
                <a:ext uri="{FF2B5EF4-FFF2-40B4-BE49-F238E27FC236}">
                  <a16:creationId xmlns:a16="http://schemas.microsoft.com/office/drawing/2014/main" id="{9B860905-C32B-BE49-912A-0B52BE6419D4}"/>
                </a:ext>
              </a:extLst>
            </p:cNvPr>
            <p:cNvSpPr/>
            <p:nvPr/>
          </p:nvSpPr>
          <p:spPr bwMode="auto">
            <a:xfrm>
              <a:off x="6558202" y="2387674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0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5" name="Oval 184">
              <a:extLst>
                <a:ext uri="{FF2B5EF4-FFF2-40B4-BE49-F238E27FC236}">
                  <a16:creationId xmlns:a16="http://schemas.microsoft.com/office/drawing/2014/main" id="{E6A6F9AD-E5FB-FC45-8D91-7E2039D38A65}"/>
                </a:ext>
              </a:extLst>
            </p:cNvPr>
            <p:cNvSpPr/>
            <p:nvPr/>
          </p:nvSpPr>
          <p:spPr bwMode="auto">
            <a:xfrm>
              <a:off x="6834427" y="2438474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0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6" name="Oval 185">
              <a:extLst>
                <a:ext uri="{FF2B5EF4-FFF2-40B4-BE49-F238E27FC236}">
                  <a16:creationId xmlns:a16="http://schemas.microsoft.com/office/drawing/2014/main" id="{0CF31637-10F1-E94E-95A2-882CEF5D600B}"/>
                </a:ext>
              </a:extLst>
            </p:cNvPr>
            <p:cNvSpPr/>
            <p:nvPr/>
          </p:nvSpPr>
          <p:spPr bwMode="auto">
            <a:xfrm>
              <a:off x="6558202" y="2574999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0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7" name="Oval 186">
              <a:extLst>
                <a:ext uri="{FF2B5EF4-FFF2-40B4-BE49-F238E27FC236}">
                  <a16:creationId xmlns:a16="http://schemas.microsoft.com/office/drawing/2014/main" id="{61037609-1A15-3E4A-B6FB-8D3444D07326}"/>
                </a:ext>
              </a:extLst>
            </p:cNvPr>
            <p:cNvSpPr/>
            <p:nvPr/>
          </p:nvSpPr>
          <p:spPr bwMode="auto">
            <a:xfrm>
              <a:off x="6291502" y="2438474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0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8" name="Oval 187">
              <a:extLst>
                <a:ext uri="{FF2B5EF4-FFF2-40B4-BE49-F238E27FC236}">
                  <a16:creationId xmlns:a16="http://schemas.microsoft.com/office/drawing/2014/main" id="{21E30766-5BEA-014A-A71E-0DD9D456F5DF}"/>
                </a:ext>
              </a:extLst>
            </p:cNvPr>
            <p:cNvSpPr/>
            <p:nvPr/>
          </p:nvSpPr>
          <p:spPr bwMode="auto">
            <a:xfrm>
              <a:off x="6558202" y="1925712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0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1099D9F-7ED2-6541-8648-491FB43A7D14}"/>
              </a:ext>
            </a:extLst>
          </p:cNvPr>
          <p:cNvSpPr/>
          <p:nvPr/>
        </p:nvSpPr>
        <p:spPr bwMode="auto">
          <a:xfrm>
            <a:off x="8100161" y="148623"/>
            <a:ext cx="894457" cy="724967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0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239" name="Freeform 238">
            <a:extLst>
              <a:ext uri="{FF2B5EF4-FFF2-40B4-BE49-F238E27FC236}">
                <a16:creationId xmlns:a16="http://schemas.microsoft.com/office/drawing/2014/main" id="{BF84D008-0197-DB4B-A0C2-9548A308D674}"/>
              </a:ext>
            </a:extLst>
          </p:cNvPr>
          <p:cNvSpPr/>
          <p:nvPr/>
        </p:nvSpPr>
        <p:spPr bwMode="auto">
          <a:xfrm rot="19841501" flipH="1">
            <a:off x="6784305" y="1266661"/>
            <a:ext cx="136659" cy="305889"/>
          </a:xfrm>
          <a:custGeom>
            <a:avLst/>
            <a:gdLst>
              <a:gd name="connsiteX0" fmla="*/ 250825 w 250825"/>
              <a:gd name="connsiteY0" fmla="*/ 0 h 269875"/>
              <a:gd name="connsiteX1" fmla="*/ 0 w 250825"/>
              <a:gd name="connsiteY1" fmla="*/ 142875 h 269875"/>
              <a:gd name="connsiteX2" fmla="*/ 250825 w 250825"/>
              <a:gd name="connsiteY2" fmla="*/ 269875 h 26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825" h="269875">
                <a:moveTo>
                  <a:pt x="250825" y="0"/>
                </a:moveTo>
                <a:lnTo>
                  <a:pt x="0" y="142875"/>
                </a:lnTo>
                <a:lnTo>
                  <a:pt x="250825" y="269875"/>
                </a:lnTo>
              </a:path>
            </a:pathLst>
          </a:custGeom>
          <a:ln w="127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69">
              <a:defRPr/>
            </a:pPr>
            <a:endParaRPr lang="en-US" sz="1765">
              <a:solidFill>
                <a:prstClr val="white"/>
              </a:solidFill>
              <a:latin typeface="Segoe UI"/>
            </a:endParaRPr>
          </a:p>
        </p:txBody>
      </p:sp>
      <p:sp useBgFill="1">
        <p:nvSpPr>
          <p:cNvPr id="240" name="Freeform 239">
            <a:extLst>
              <a:ext uri="{FF2B5EF4-FFF2-40B4-BE49-F238E27FC236}">
                <a16:creationId xmlns:a16="http://schemas.microsoft.com/office/drawing/2014/main" id="{0EA015D6-8970-F442-96D2-12A12E0331D4}"/>
              </a:ext>
            </a:extLst>
          </p:cNvPr>
          <p:cNvSpPr/>
          <p:nvPr/>
        </p:nvSpPr>
        <p:spPr bwMode="auto">
          <a:xfrm rot="1583341" flipH="1">
            <a:off x="10244856" y="1283762"/>
            <a:ext cx="136659" cy="305889"/>
          </a:xfrm>
          <a:custGeom>
            <a:avLst/>
            <a:gdLst>
              <a:gd name="connsiteX0" fmla="*/ 250825 w 250825"/>
              <a:gd name="connsiteY0" fmla="*/ 0 h 269875"/>
              <a:gd name="connsiteX1" fmla="*/ 0 w 250825"/>
              <a:gd name="connsiteY1" fmla="*/ 142875 h 269875"/>
              <a:gd name="connsiteX2" fmla="*/ 250825 w 250825"/>
              <a:gd name="connsiteY2" fmla="*/ 269875 h 26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825" h="269875">
                <a:moveTo>
                  <a:pt x="250825" y="0"/>
                </a:moveTo>
                <a:lnTo>
                  <a:pt x="0" y="142875"/>
                </a:lnTo>
                <a:lnTo>
                  <a:pt x="250825" y="269875"/>
                </a:lnTo>
              </a:path>
            </a:pathLst>
          </a:custGeom>
          <a:ln w="127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69">
              <a:defRPr/>
            </a:pPr>
            <a:endParaRPr lang="en-US" sz="1765">
              <a:solidFill>
                <a:prstClr val="white"/>
              </a:solidFill>
              <a:latin typeface="Segoe UI"/>
            </a:endParaRPr>
          </a:p>
        </p:txBody>
      </p:sp>
      <p:sp useBgFill="1">
        <p:nvSpPr>
          <p:cNvPr id="241" name="Freeform 240">
            <a:extLst>
              <a:ext uri="{FF2B5EF4-FFF2-40B4-BE49-F238E27FC236}">
                <a16:creationId xmlns:a16="http://schemas.microsoft.com/office/drawing/2014/main" id="{6B0D99FF-B2E7-624A-B45A-9634031CA932}"/>
              </a:ext>
            </a:extLst>
          </p:cNvPr>
          <p:cNvSpPr/>
          <p:nvPr/>
        </p:nvSpPr>
        <p:spPr bwMode="auto">
          <a:xfrm rot="6586313" flipH="1">
            <a:off x="11134887" y="4076093"/>
            <a:ext cx="136659" cy="305889"/>
          </a:xfrm>
          <a:custGeom>
            <a:avLst/>
            <a:gdLst>
              <a:gd name="connsiteX0" fmla="*/ 250825 w 250825"/>
              <a:gd name="connsiteY0" fmla="*/ 0 h 269875"/>
              <a:gd name="connsiteX1" fmla="*/ 0 w 250825"/>
              <a:gd name="connsiteY1" fmla="*/ 142875 h 269875"/>
              <a:gd name="connsiteX2" fmla="*/ 250825 w 250825"/>
              <a:gd name="connsiteY2" fmla="*/ 269875 h 26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825" h="269875">
                <a:moveTo>
                  <a:pt x="250825" y="0"/>
                </a:moveTo>
                <a:lnTo>
                  <a:pt x="0" y="142875"/>
                </a:lnTo>
                <a:lnTo>
                  <a:pt x="250825" y="269875"/>
                </a:lnTo>
              </a:path>
            </a:pathLst>
          </a:custGeom>
          <a:ln w="127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69">
              <a:defRPr/>
            </a:pPr>
            <a:endParaRPr lang="en-US" sz="1765">
              <a:solidFill>
                <a:prstClr val="white"/>
              </a:solidFill>
              <a:latin typeface="Segoe UI"/>
            </a:endParaRPr>
          </a:p>
        </p:txBody>
      </p:sp>
      <p:sp useBgFill="1">
        <p:nvSpPr>
          <p:cNvPr id="242" name="Freeform 241">
            <a:extLst>
              <a:ext uri="{FF2B5EF4-FFF2-40B4-BE49-F238E27FC236}">
                <a16:creationId xmlns:a16="http://schemas.microsoft.com/office/drawing/2014/main" id="{F4F68F41-8CEF-A649-9EA5-926EC4FBDD9F}"/>
              </a:ext>
            </a:extLst>
          </p:cNvPr>
          <p:cNvSpPr/>
          <p:nvPr/>
        </p:nvSpPr>
        <p:spPr bwMode="auto">
          <a:xfrm rot="10800000" flipH="1">
            <a:off x="8547389" y="6055794"/>
            <a:ext cx="136659" cy="305889"/>
          </a:xfrm>
          <a:custGeom>
            <a:avLst/>
            <a:gdLst>
              <a:gd name="connsiteX0" fmla="*/ 250825 w 250825"/>
              <a:gd name="connsiteY0" fmla="*/ 0 h 269875"/>
              <a:gd name="connsiteX1" fmla="*/ 0 w 250825"/>
              <a:gd name="connsiteY1" fmla="*/ 142875 h 269875"/>
              <a:gd name="connsiteX2" fmla="*/ 250825 w 250825"/>
              <a:gd name="connsiteY2" fmla="*/ 269875 h 26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825" h="269875">
                <a:moveTo>
                  <a:pt x="250825" y="0"/>
                </a:moveTo>
                <a:lnTo>
                  <a:pt x="0" y="142875"/>
                </a:lnTo>
                <a:lnTo>
                  <a:pt x="250825" y="269875"/>
                </a:lnTo>
              </a:path>
            </a:pathLst>
          </a:custGeom>
          <a:ln w="127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69">
              <a:defRPr/>
            </a:pPr>
            <a:endParaRPr lang="en-US" sz="1765">
              <a:solidFill>
                <a:prstClr val="white"/>
              </a:solidFill>
              <a:latin typeface="Segoe UI"/>
            </a:endParaRPr>
          </a:p>
        </p:txBody>
      </p:sp>
      <p:sp useBgFill="1">
        <p:nvSpPr>
          <p:cNvPr id="243" name="Freeform 242">
            <a:extLst>
              <a:ext uri="{FF2B5EF4-FFF2-40B4-BE49-F238E27FC236}">
                <a16:creationId xmlns:a16="http://schemas.microsoft.com/office/drawing/2014/main" id="{0ADB20F3-7508-1E48-AF72-636595DAC877}"/>
              </a:ext>
            </a:extLst>
          </p:cNvPr>
          <p:cNvSpPr/>
          <p:nvPr/>
        </p:nvSpPr>
        <p:spPr bwMode="auto">
          <a:xfrm rot="13939501" flipH="1">
            <a:off x="6101589" y="4532305"/>
            <a:ext cx="136659" cy="305889"/>
          </a:xfrm>
          <a:custGeom>
            <a:avLst/>
            <a:gdLst>
              <a:gd name="connsiteX0" fmla="*/ 250825 w 250825"/>
              <a:gd name="connsiteY0" fmla="*/ 0 h 269875"/>
              <a:gd name="connsiteX1" fmla="*/ 0 w 250825"/>
              <a:gd name="connsiteY1" fmla="*/ 142875 h 269875"/>
              <a:gd name="connsiteX2" fmla="*/ 250825 w 250825"/>
              <a:gd name="connsiteY2" fmla="*/ 269875 h 26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825" h="269875">
                <a:moveTo>
                  <a:pt x="250825" y="0"/>
                </a:moveTo>
                <a:lnTo>
                  <a:pt x="0" y="142875"/>
                </a:lnTo>
                <a:lnTo>
                  <a:pt x="250825" y="269875"/>
                </a:lnTo>
              </a:path>
            </a:pathLst>
          </a:custGeom>
          <a:ln w="127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69">
              <a:defRPr/>
            </a:pPr>
            <a:endParaRPr lang="en-US" sz="1765">
              <a:solidFill>
                <a:prstClr val="white"/>
              </a:solidFill>
              <a:latin typeface="Segoe UI"/>
            </a:endParaRP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66D741F-9E32-4325-80E2-0E237C1A40B6}"/>
              </a:ext>
            </a:extLst>
          </p:cNvPr>
          <p:cNvGrpSpPr/>
          <p:nvPr/>
        </p:nvGrpSpPr>
        <p:grpSpPr>
          <a:xfrm rot="1758133">
            <a:off x="8097408" y="220199"/>
            <a:ext cx="1364605" cy="690803"/>
            <a:chOff x="8588574" y="428487"/>
            <a:chExt cx="1330434" cy="673502"/>
          </a:xfrm>
        </p:grpSpPr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4605EE45-72F0-410F-96CC-92D0209F2B13}"/>
                </a:ext>
              </a:extLst>
            </p:cNvPr>
            <p:cNvSpPr/>
            <p:nvPr/>
          </p:nvSpPr>
          <p:spPr bwMode="auto">
            <a:xfrm>
              <a:off x="9715808" y="428487"/>
              <a:ext cx="203200" cy="166829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08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07EA252C-F2D3-448B-8D0C-6D5A39BD1C4C}"/>
                </a:ext>
              </a:extLst>
            </p:cNvPr>
            <p:cNvSpPr/>
            <p:nvPr/>
          </p:nvSpPr>
          <p:spPr bwMode="auto">
            <a:xfrm>
              <a:off x="8588574" y="935160"/>
              <a:ext cx="203200" cy="166829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08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36" name="TextBox 135">
            <a:extLst>
              <a:ext uri="{FF2B5EF4-FFF2-40B4-BE49-F238E27FC236}">
                <a16:creationId xmlns:a16="http://schemas.microsoft.com/office/drawing/2014/main" id="{21C7EB02-38D6-F449-B54A-AA4153E5EEE8}"/>
              </a:ext>
            </a:extLst>
          </p:cNvPr>
          <p:cNvSpPr txBox="1"/>
          <p:nvPr/>
        </p:nvSpPr>
        <p:spPr>
          <a:xfrm>
            <a:off x="7925710" y="957207"/>
            <a:ext cx="1356927" cy="4219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defTabSz="913993">
              <a:defRPr/>
            </a:pPr>
            <a:r>
              <a:rPr lang="en-US" sz="1371">
                <a:solidFill>
                  <a:prstClr val="black"/>
                </a:solidFill>
                <a:latin typeface="Segoe UI"/>
              </a:rPr>
              <a:t>Train &amp; </a:t>
            </a:r>
            <a:br>
              <a:rPr lang="en-US" sz="1371">
                <a:solidFill>
                  <a:prstClr val="black"/>
                </a:solidFill>
                <a:latin typeface="Segoe UI"/>
              </a:rPr>
            </a:br>
            <a:r>
              <a:rPr lang="en-US" sz="1371">
                <a:solidFill>
                  <a:prstClr val="black"/>
                </a:solidFill>
                <a:latin typeface="Segoe UI"/>
              </a:rPr>
              <a:t>Test Mod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E6F65DF-0886-4B1B-ABA5-CBF2D438B3D1}"/>
              </a:ext>
            </a:extLst>
          </p:cNvPr>
          <p:cNvSpPr txBox="1"/>
          <p:nvPr/>
        </p:nvSpPr>
        <p:spPr>
          <a:xfrm>
            <a:off x="7189877" y="3072641"/>
            <a:ext cx="3049148" cy="9602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accent1"/>
                </a:solidFill>
                <a:latin typeface="+mj-lt"/>
              </a:rPr>
              <a:t>Integrated with Azure DevOps</a:t>
            </a:r>
          </a:p>
        </p:txBody>
      </p:sp>
      <p:grpSp>
        <p:nvGrpSpPr>
          <p:cNvPr id="298" name="Group 297">
            <a:extLst>
              <a:ext uri="{FF2B5EF4-FFF2-40B4-BE49-F238E27FC236}">
                <a16:creationId xmlns:a16="http://schemas.microsoft.com/office/drawing/2014/main" id="{32FFCCA8-39A9-4E11-813C-979DB273E786}"/>
              </a:ext>
            </a:extLst>
          </p:cNvPr>
          <p:cNvGrpSpPr/>
          <p:nvPr/>
        </p:nvGrpSpPr>
        <p:grpSpPr>
          <a:xfrm>
            <a:off x="5207680" y="2978374"/>
            <a:ext cx="1373649" cy="484028"/>
            <a:chOff x="2762483" y="3494189"/>
            <a:chExt cx="1219498" cy="379473"/>
          </a:xfrm>
        </p:grpSpPr>
        <p:pic>
          <p:nvPicPr>
            <p:cNvPr id="299" name="Picture 298" descr="A close up of a sign&#10;&#10;Description automatically generated">
              <a:extLst>
                <a:ext uri="{FF2B5EF4-FFF2-40B4-BE49-F238E27FC236}">
                  <a16:creationId xmlns:a16="http://schemas.microsoft.com/office/drawing/2014/main" id="{5B9FAF76-796A-4C25-BEDD-06206647BD8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86829" y="3541599"/>
              <a:ext cx="295152" cy="308427"/>
            </a:xfrm>
            <a:prstGeom prst="rect">
              <a:avLst/>
            </a:prstGeom>
          </p:spPr>
        </p:pic>
        <p:pic>
          <p:nvPicPr>
            <p:cNvPr id="300" name="Picture 299" descr="A close up of a sign&#10;&#10;Description automatically generated">
              <a:extLst>
                <a:ext uri="{FF2B5EF4-FFF2-40B4-BE49-F238E27FC236}">
                  <a16:creationId xmlns:a16="http://schemas.microsoft.com/office/drawing/2014/main" id="{FC724F2F-AFD2-42E5-B0C6-F24E13A7AD8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2483" y="3494189"/>
              <a:ext cx="351260" cy="350774"/>
            </a:xfrm>
            <a:prstGeom prst="rect">
              <a:avLst/>
            </a:prstGeom>
          </p:spPr>
        </p:pic>
        <p:pic>
          <p:nvPicPr>
            <p:cNvPr id="301" name="Picture 300" descr="A picture containing vector graphics&#10;&#10;Description automatically generated">
              <a:extLst>
                <a:ext uri="{FF2B5EF4-FFF2-40B4-BE49-F238E27FC236}">
                  <a16:creationId xmlns:a16="http://schemas.microsoft.com/office/drawing/2014/main" id="{2C3F622B-0A8C-4B19-838B-7C4929F5062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3030" y="3522888"/>
              <a:ext cx="306761" cy="350774"/>
            </a:xfrm>
            <a:prstGeom prst="rect">
              <a:avLst/>
            </a:prstGeom>
          </p:spPr>
        </p:pic>
      </p:grpSp>
      <p:pic>
        <p:nvPicPr>
          <p:cNvPr id="302" name="Picture 301">
            <a:extLst>
              <a:ext uri="{FF2B5EF4-FFF2-40B4-BE49-F238E27FC236}">
                <a16:creationId xmlns:a16="http://schemas.microsoft.com/office/drawing/2014/main" id="{C9B862B8-E534-47D2-B46F-3513F96F52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9024" y="4962554"/>
            <a:ext cx="795875" cy="447385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23173286-93E7-4194-9E10-872BE2AE34F1}"/>
              </a:ext>
            </a:extLst>
          </p:cNvPr>
          <p:cNvGrpSpPr/>
          <p:nvPr/>
        </p:nvGrpSpPr>
        <p:grpSpPr>
          <a:xfrm>
            <a:off x="8150229" y="185775"/>
            <a:ext cx="1032355" cy="767264"/>
            <a:chOff x="8267568" y="420203"/>
            <a:chExt cx="1032354" cy="767264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80CC8A9-B255-4FB6-9143-F45170A6C591}"/>
                </a:ext>
              </a:extLst>
            </p:cNvPr>
            <p:cNvSpPr/>
            <p:nvPr/>
          </p:nvSpPr>
          <p:spPr>
            <a:xfrm>
              <a:off x="8790153" y="1014696"/>
              <a:ext cx="30852" cy="64077"/>
            </a:xfrm>
            <a:custGeom>
              <a:avLst/>
              <a:gdLst>
                <a:gd name="connsiteX0" fmla="*/ 0 w 30851"/>
                <a:gd name="connsiteY0" fmla="*/ 0 h 64077"/>
                <a:gd name="connsiteX1" fmla="*/ 30852 w 30851"/>
                <a:gd name="connsiteY1" fmla="*/ 30615 h 64077"/>
                <a:gd name="connsiteX2" fmla="*/ 31089 w 30851"/>
                <a:gd name="connsiteY2" fmla="*/ 65976 h 64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851" h="64077">
                  <a:moveTo>
                    <a:pt x="0" y="0"/>
                  </a:moveTo>
                  <a:cubicBezTo>
                    <a:pt x="30852" y="30615"/>
                    <a:pt x="30852" y="30615"/>
                    <a:pt x="30852" y="30615"/>
                  </a:cubicBezTo>
                  <a:cubicBezTo>
                    <a:pt x="31089" y="65976"/>
                    <a:pt x="31089" y="65976"/>
                    <a:pt x="31089" y="65976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5BF4EE2-025C-44FB-ACFF-4408315F08D3}"/>
                </a:ext>
              </a:extLst>
            </p:cNvPr>
            <p:cNvSpPr/>
            <p:nvPr/>
          </p:nvSpPr>
          <p:spPr>
            <a:xfrm>
              <a:off x="8727262" y="1015408"/>
              <a:ext cx="28479" cy="64077"/>
            </a:xfrm>
            <a:custGeom>
              <a:avLst/>
              <a:gdLst>
                <a:gd name="connsiteX0" fmla="*/ 29665 w 28478"/>
                <a:gd name="connsiteY0" fmla="*/ 0 h 64077"/>
                <a:gd name="connsiteX1" fmla="*/ 0 w 28478"/>
                <a:gd name="connsiteY1" fmla="*/ 30377 h 64077"/>
                <a:gd name="connsiteX2" fmla="*/ 237 w 28478"/>
                <a:gd name="connsiteY2" fmla="*/ 65738 h 64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478" h="64077">
                  <a:moveTo>
                    <a:pt x="29665" y="0"/>
                  </a:moveTo>
                  <a:cubicBezTo>
                    <a:pt x="0" y="30377"/>
                    <a:pt x="0" y="30377"/>
                    <a:pt x="0" y="30377"/>
                  </a:cubicBezTo>
                  <a:cubicBezTo>
                    <a:pt x="237" y="65738"/>
                    <a:pt x="237" y="65738"/>
                    <a:pt x="237" y="65738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A920F03-696D-4722-9742-4FE1332E2C67}"/>
                </a:ext>
              </a:extLst>
            </p:cNvPr>
            <p:cNvSpPr/>
            <p:nvPr/>
          </p:nvSpPr>
          <p:spPr>
            <a:xfrm>
              <a:off x="8387416" y="809884"/>
              <a:ext cx="408195" cy="367850"/>
            </a:xfrm>
            <a:custGeom>
              <a:avLst/>
              <a:gdLst>
                <a:gd name="connsiteX0" fmla="*/ 93505 w 408195"/>
                <a:gd name="connsiteY0" fmla="*/ 129818 h 367849"/>
                <a:gd name="connsiteX1" fmla="*/ 34886 w 408195"/>
                <a:gd name="connsiteY1" fmla="*/ 188674 h 367849"/>
                <a:gd name="connsiteX2" fmla="*/ 34886 w 408195"/>
                <a:gd name="connsiteY2" fmla="*/ 367853 h 367849"/>
                <a:gd name="connsiteX3" fmla="*/ 151887 w 408195"/>
                <a:gd name="connsiteY3" fmla="*/ 367853 h 367849"/>
                <a:gd name="connsiteX4" fmla="*/ 151887 w 408195"/>
                <a:gd name="connsiteY4" fmla="*/ 188674 h 367849"/>
                <a:gd name="connsiteX5" fmla="*/ 93505 w 408195"/>
                <a:gd name="connsiteY5" fmla="*/ 129818 h 367849"/>
                <a:gd name="connsiteX6" fmla="*/ 93505 w 408195"/>
                <a:gd name="connsiteY6" fmla="*/ 129818 h 367849"/>
                <a:gd name="connsiteX7" fmla="*/ 0 w 408195"/>
                <a:gd name="connsiteY7" fmla="*/ 367853 h 367849"/>
                <a:gd name="connsiteX8" fmla="*/ 187248 w 408195"/>
                <a:gd name="connsiteY8" fmla="*/ 367853 h 367849"/>
                <a:gd name="connsiteX9" fmla="*/ 150225 w 408195"/>
                <a:gd name="connsiteY9" fmla="*/ 173249 h 367849"/>
                <a:gd name="connsiteX10" fmla="*/ 259394 w 408195"/>
                <a:gd name="connsiteY10" fmla="*/ 60046 h 367849"/>
                <a:gd name="connsiteX11" fmla="*/ 258682 w 408195"/>
                <a:gd name="connsiteY11" fmla="*/ 9971 h 367849"/>
                <a:gd name="connsiteX12" fmla="*/ 209081 w 408195"/>
                <a:gd name="connsiteY12" fmla="*/ 10683 h 367849"/>
                <a:gd name="connsiteX13" fmla="*/ 94454 w 408195"/>
                <a:gd name="connsiteY13" fmla="*/ 129581 h 367849"/>
                <a:gd name="connsiteX14" fmla="*/ 369274 w 408195"/>
                <a:gd name="connsiteY14" fmla="*/ 128157 h 367849"/>
                <a:gd name="connsiteX15" fmla="*/ 402974 w 408195"/>
                <a:gd name="connsiteY15" fmla="*/ 116291 h 367849"/>
                <a:gd name="connsiteX16" fmla="*/ 391582 w 408195"/>
                <a:gd name="connsiteY16" fmla="*/ 87100 h 367849"/>
                <a:gd name="connsiteX17" fmla="*/ 243730 w 408195"/>
                <a:gd name="connsiteY17" fmla="*/ 952 h 367849"/>
                <a:gd name="connsiteX18" fmla="*/ 369274 w 408195"/>
                <a:gd name="connsiteY18" fmla="*/ 128157 h 367849"/>
                <a:gd name="connsiteX19" fmla="*/ 256783 w 408195"/>
                <a:gd name="connsiteY19" fmla="*/ 62182 h 367849"/>
                <a:gd name="connsiteX20" fmla="*/ 363104 w 408195"/>
                <a:gd name="connsiteY20" fmla="*/ 188674 h 367849"/>
                <a:gd name="connsiteX21" fmla="*/ 390633 w 408195"/>
                <a:gd name="connsiteY21" fmla="*/ 211695 h 367849"/>
                <a:gd name="connsiteX22" fmla="*/ 410094 w 408195"/>
                <a:gd name="connsiteY22" fmla="*/ 187013 h 367849"/>
                <a:gd name="connsiteX23" fmla="*/ 404398 w 408195"/>
                <a:gd name="connsiteY23" fmla="*/ 109409 h 367849"/>
                <a:gd name="connsiteX24" fmla="*/ 363104 w 408195"/>
                <a:gd name="connsiteY24" fmla="*/ 188674 h 367849"/>
                <a:gd name="connsiteX25" fmla="*/ 362629 w 408195"/>
                <a:gd name="connsiteY25" fmla="*/ 123173 h 367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08195" h="367849">
                  <a:moveTo>
                    <a:pt x="93505" y="129818"/>
                  </a:moveTo>
                  <a:cubicBezTo>
                    <a:pt x="61229" y="129818"/>
                    <a:pt x="34886" y="156161"/>
                    <a:pt x="34886" y="188674"/>
                  </a:cubicBezTo>
                  <a:cubicBezTo>
                    <a:pt x="34886" y="353614"/>
                    <a:pt x="34886" y="367853"/>
                    <a:pt x="34886" y="367853"/>
                  </a:cubicBezTo>
                  <a:cubicBezTo>
                    <a:pt x="151887" y="367853"/>
                    <a:pt x="151887" y="367853"/>
                    <a:pt x="151887" y="367853"/>
                  </a:cubicBezTo>
                  <a:cubicBezTo>
                    <a:pt x="151887" y="202914"/>
                    <a:pt x="151887" y="188674"/>
                    <a:pt x="151887" y="188674"/>
                  </a:cubicBezTo>
                  <a:cubicBezTo>
                    <a:pt x="152124" y="156161"/>
                    <a:pt x="126018" y="129818"/>
                    <a:pt x="93505" y="129818"/>
                  </a:cubicBezTo>
                  <a:lnTo>
                    <a:pt x="93505" y="129818"/>
                  </a:lnTo>
                  <a:close/>
                  <a:moveTo>
                    <a:pt x="0" y="367853"/>
                  </a:moveTo>
                  <a:cubicBezTo>
                    <a:pt x="187248" y="367853"/>
                    <a:pt x="187248" y="367853"/>
                    <a:pt x="187248" y="367853"/>
                  </a:cubicBezTo>
                  <a:moveTo>
                    <a:pt x="150225" y="173249"/>
                  </a:moveTo>
                  <a:cubicBezTo>
                    <a:pt x="259394" y="60046"/>
                    <a:pt x="259394" y="60046"/>
                    <a:pt x="259394" y="60046"/>
                  </a:cubicBezTo>
                  <a:cubicBezTo>
                    <a:pt x="272921" y="46044"/>
                    <a:pt x="272684" y="23735"/>
                    <a:pt x="258682" y="9971"/>
                  </a:cubicBezTo>
                  <a:cubicBezTo>
                    <a:pt x="244917" y="-3557"/>
                    <a:pt x="222609" y="-3319"/>
                    <a:pt x="209081" y="10683"/>
                  </a:cubicBezTo>
                  <a:cubicBezTo>
                    <a:pt x="94454" y="129581"/>
                    <a:pt x="94454" y="129581"/>
                    <a:pt x="94454" y="129581"/>
                  </a:cubicBezTo>
                  <a:moveTo>
                    <a:pt x="369274" y="128157"/>
                  </a:moveTo>
                  <a:cubicBezTo>
                    <a:pt x="381615" y="135514"/>
                    <a:pt x="397753" y="130293"/>
                    <a:pt x="402974" y="116291"/>
                  </a:cubicBezTo>
                  <a:cubicBezTo>
                    <a:pt x="407246" y="105374"/>
                    <a:pt x="401787" y="93033"/>
                    <a:pt x="391582" y="87100"/>
                  </a:cubicBezTo>
                  <a:cubicBezTo>
                    <a:pt x="243730" y="952"/>
                    <a:pt x="243730" y="952"/>
                    <a:pt x="243730" y="952"/>
                  </a:cubicBezTo>
                  <a:moveTo>
                    <a:pt x="369274" y="128157"/>
                  </a:moveTo>
                  <a:cubicBezTo>
                    <a:pt x="256783" y="62182"/>
                    <a:pt x="256783" y="62182"/>
                    <a:pt x="256783" y="62182"/>
                  </a:cubicBezTo>
                  <a:moveTo>
                    <a:pt x="363104" y="188674"/>
                  </a:moveTo>
                  <a:cubicBezTo>
                    <a:pt x="363104" y="202914"/>
                    <a:pt x="375919" y="214305"/>
                    <a:pt x="390633" y="211695"/>
                  </a:cubicBezTo>
                  <a:cubicBezTo>
                    <a:pt x="402025" y="209796"/>
                    <a:pt x="410094" y="198879"/>
                    <a:pt x="410094" y="187013"/>
                  </a:cubicBezTo>
                  <a:cubicBezTo>
                    <a:pt x="409856" y="164230"/>
                    <a:pt x="404635" y="126733"/>
                    <a:pt x="404398" y="109409"/>
                  </a:cubicBezTo>
                  <a:moveTo>
                    <a:pt x="363104" y="188674"/>
                  </a:moveTo>
                  <a:cubicBezTo>
                    <a:pt x="362866" y="161620"/>
                    <a:pt x="362866" y="140023"/>
                    <a:pt x="362629" y="123173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726F1AE-8E1B-44B8-9A88-199841D1F2FF}"/>
                </a:ext>
              </a:extLst>
            </p:cNvPr>
            <p:cNvSpPr/>
            <p:nvPr/>
          </p:nvSpPr>
          <p:spPr>
            <a:xfrm>
              <a:off x="8652505" y="849045"/>
              <a:ext cx="37972" cy="26105"/>
            </a:xfrm>
            <a:custGeom>
              <a:avLst/>
              <a:gdLst>
                <a:gd name="connsiteX0" fmla="*/ 38446 w 37971"/>
                <a:gd name="connsiteY0" fmla="*/ 0 h 26105"/>
                <a:gd name="connsiteX1" fmla="*/ 0 w 37971"/>
                <a:gd name="connsiteY1" fmla="*/ 27529 h 26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971" h="26105">
                  <a:moveTo>
                    <a:pt x="38446" y="0"/>
                  </a:moveTo>
                  <a:lnTo>
                    <a:pt x="0" y="27529"/>
                  </a:lnTo>
                </a:path>
              </a:pathLst>
            </a:custGeom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FEB90DC-6E2D-4504-9920-B66EAF3F3B11}"/>
                </a:ext>
              </a:extLst>
            </p:cNvPr>
            <p:cNvSpPr/>
            <p:nvPr/>
          </p:nvSpPr>
          <p:spPr>
            <a:xfrm>
              <a:off x="8669355" y="856876"/>
              <a:ext cx="37972" cy="26105"/>
            </a:xfrm>
            <a:custGeom>
              <a:avLst/>
              <a:gdLst>
                <a:gd name="connsiteX0" fmla="*/ 38446 w 37971"/>
                <a:gd name="connsiteY0" fmla="*/ 0 h 26105"/>
                <a:gd name="connsiteX1" fmla="*/ 0 w 37971"/>
                <a:gd name="connsiteY1" fmla="*/ 27529 h 26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971" h="26105">
                  <a:moveTo>
                    <a:pt x="38446" y="0"/>
                  </a:moveTo>
                  <a:lnTo>
                    <a:pt x="0" y="27529"/>
                  </a:lnTo>
                </a:path>
              </a:pathLst>
            </a:custGeom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19A9D48-7E9C-49ED-805B-AA1FC6A98642}"/>
                </a:ext>
              </a:extLst>
            </p:cNvPr>
            <p:cNvSpPr/>
            <p:nvPr/>
          </p:nvSpPr>
          <p:spPr>
            <a:xfrm>
              <a:off x="8685731" y="867081"/>
              <a:ext cx="37972" cy="26105"/>
            </a:xfrm>
            <a:custGeom>
              <a:avLst/>
              <a:gdLst>
                <a:gd name="connsiteX0" fmla="*/ 38209 w 37971"/>
                <a:gd name="connsiteY0" fmla="*/ 0 h 26105"/>
                <a:gd name="connsiteX1" fmla="*/ 0 w 37971"/>
                <a:gd name="connsiteY1" fmla="*/ 27529 h 26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971" h="26105">
                  <a:moveTo>
                    <a:pt x="38209" y="0"/>
                  </a:moveTo>
                  <a:lnTo>
                    <a:pt x="0" y="27529"/>
                  </a:lnTo>
                </a:path>
              </a:pathLst>
            </a:custGeom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42E7B1D-E295-4CD7-ABE4-B069E607C0B7}"/>
                </a:ext>
              </a:extLst>
            </p:cNvPr>
            <p:cNvSpPr/>
            <p:nvPr/>
          </p:nvSpPr>
          <p:spPr>
            <a:xfrm>
              <a:off x="8701631" y="876812"/>
              <a:ext cx="37972" cy="26105"/>
            </a:xfrm>
            <a:custGeom>
              <a:avLst/>
              <a:gdLst>
                <a:gd name="connsiteX0" fmla="*/ 38446 w 37971"/>
                <a:gd name="connsiteY0" fmla="*/ 0 h 26105"/>
                <a:gd name="connsiteX1" fmla="*/ 0 w 37971"/>
                <a:gd name="connsiteY1" fmla="*/ 27529 h 26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971" h="26105">
                  <a:moveTo>
                    <a:pt x="38446" y="0"/>
                  </a:moveTo>
                  <a:lnTo>
                    <a:pt x="0" y="27529"/>
                  </a:lnTo>
                </a:path>
              </a:pathLst>
            </a:custGeom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E8476F9-1879-465C-B4D6-3A5AE232DFBC}"/>
                </a:ext>
              </a:extLst>
            </p:cNvPr>
            <p:cNvSpPr/>
            <p:nvPr/>
          </p:nvSpPr>
          <p:spPr>
            <a:xfrm>
              <a:off x="8469292" y="998558"/>
              <a:ext cx="21359" cy="23732"/>
            </a:xfrm>
            <a:custGeom>
              <a:avLst/>
              <a:gdLst>
                <a:gd name="connsiteX0" fmla="*/ 11629 w 21359"/>
                <a:gd name="connsiteY0" fmla="*/ 0 h 23732"/>
                <a:gd name="connsiteX1" fmla="*/ 0 w 21359"/>
                <a:gd name="connsiteY1" fmla="*/ 11866 h 23732"/>
                <a:gd name="connsiteX2" fmla="*/ 11629 w 21359"/>
                <a:gd name="connsiteY2" fmla="*/ 23732 h 23732"/>
                <a:gd name="connsiteX3" fmla="*/ 23258 w 21359"/>
                <a:gd name="connsiteY3" fmla="*/ 11866 h 23732"/>
                <a:gd name="connsiteX4" fmla="*/ 11629 w 21359"/>
                <a:gd name="connsiteY4" fmla="*/ 0 h 23732"/>
                <a:gd name="connsiteX5" fmla="*/ 11629 w 21359"/>
                <a:gd name="connsiteY5" fmla="*/ 0 h 2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59" h="23732">
                  <a:moveTo>
                    <a:pt x="11629" y="0"/>
                  </a:moveTo>
                  <a:cubicBezTo>
                    <a:pt x="5221" y="0"/>
                    <a:pt x="0" y="5221"/>
                    <a:pt x="0" y="11866"/>
                  </a:cubicBezTo>
                  <a:cubicBezTo>
                    <a:pt x="0" y="18274"/>
                    <a:pt x="5221" y="23732"/>
                    <a:pt x="11629" y="23732"/>
                  </a:cubicBezTo>
                  <a:cubicBezTo>
                    <a:pt x="18037" y="23732"/>
                    <a:pt x="23258" y="18511"/>
                    <a:pt x="23258" y="11866"/>
                  </a:cubicBezTo>
                  <a:cubicBezTo>
                    <a:pt x="23495" y="5221"/>
                    <a:pt x="18274" y="0"/>
                    <a:pt x="11629" y="0"/>
                  </a:cubicBezTo>
                  <a:lnTo>
                    <a:pt x="11629" y="0"/>
                  </a:lnTo>
                  <a:close/>
                </a:path>
              </a:pathLst>
            </a:custGeom>
            <a:noFill/>
            <a:ln w="23594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2E6AB57-5E77-443F-9F38-568ADA0D7C80}"/>
                </a:ext>
              </a:extLst>
            </p:cNvPr>
            <p:cNvSpPr/>
            <p:nvPr/>
          </p:nvSpPr>
          <p:spPr>
            <a:xfrm>
              <a:off x="8607651" y="835280"/>
              <a:ext cx="21359" cy="23732"/>
            </a:xfrm>
            <a:custGeom>
              <a:avLst/>
              <a:gdLst>
                <a:gd name="connsiteX0" fmla="*/ 11629 w 21359"/>
                <a:gd name="connsiteY0" fmla="*/ 0 h 23732"/>
                <a:gd name="connsiteX1" fmla="*/ 0 w 21359"/>
                <a:gd name="connsiteY1" fmla="*/ 11866 h 23732"/>
                <a:gd name="connsiteX2" fmla="*/ 11629 w 21359"/>
                <a:gd name="connsiteY2" fmla="*/ 23732 h 23732"/>
                <a:gd name="connsiteX3" fmla="*/ 23258 w 21359"/>
                <a:gd name="connsiteY3" fmla="*/ 11866 h 23732"/>
                <a:gd name="connsiteX4" fmla="*/ 11629 w 21359"/>
                <a:gd name="connsiteY4" fmla="*/ 0 h 23732"/>
                <a:gd name="connsiteX5" fmla="*/ 11629 w 21359"/>
                <a:gd name="connsiteY5" fmla="*/ 0 h 2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59" h="23732">
                  <a:moveTo>
                    <a:pt x="11629" y="0"/>
                  </a:moveTo>
                  <a:cubicBezTo>
                    <a:pt x="5221" y="0"/>
                    <a:pt x="0" y="5221"/>
                    <a:pt x="0" y="11866"/>
                  </a:cubicBezTo>
                  <a:cubicBezTo>
                    <a:pt x="0" y="18274"/>
                    <a:pt x="5221" y="23732"/>
                    <a:pt x="11629" y="23732"/>
                  </a:cubicBezTo>
                  <a:cubicBezTo>
                    <a:pt x="18037" y="23732"/>
                    <a:pt x="23258" y="18511"/>
                    <a:pt x="23258" y="11866"/>
                  </a:cubicBezTo>
                  <a:cubicBezTo>
                    <a:pt x="23495" y="5221"/>
                    <a:pt x="18274" y="0"/>
                    <a:pt x="11629" y="0"/>
                  </a:cubicBezTo>
                  <a:lnTo>
                    <a:pt x="11629" y="0"/>
                  </a:lnTo>
                  <a:close/>
                </a:path>
              </a:pathLst>
            </a:custGeom>
            <a:solidFill>
              <a:srgbClr val="4EB1FF"/>
            </a:solidFill>
            <a:ln w="2359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F4F9499-6F32-438D-9393-65BDC75310A4}"/>
                </a:ext>
              </a:extLst>
            </p:cNvPr>
            <p:cNvSpPr/>
            <p:nvPr/>
          </p:nvSpPr>
          <p:spPr>
            <a:xfrm>
              <a:off x="8754792" y="904104"/>
              <a:ext cx="21359" cy="23732"/>
            </a:xfrm>
            <a:custGeom>
              <a:avLst/>
              <a:gdLst>
                <a:gd name="connsiteX0" fmla="*/ 11629 w 21359"/>
                <a:gd name="connsiteY0" fmla="*/ 0 h 23732"/>
                <a:gd name="connsiteX1" fmla="*/ 0 w 21359"/>
                <a:gd name="connsiteY1" fmla="*/ 11866 h 23732"/>
                <a:gd name="connsiteX2" fmla="*/ 11629 w 21359"/>
                <a:gd name="connsiteY2" fmla="*/ 23732 h 23732"/>
                <a:gd name="connsiteX3" fmla="*/ 23258 w 21359"/>
                <a:gd name="connsiteY3" fmla="*/ 11866 h 23732"/>
                <a:gd name="connsiteX4" fmla="*/ 11629 w 21359"/>
                <a:gd name="connsiteY4" fmla="*/ 0 h 23732"/>
                <a:gd name="connsiteX5" fmla="*/ 11629 w 21359"/>
                <a:gd name="connsiteY5" fmla="*/ 0 h 2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59" h="23732">
                  <a:moveTo>
                    <a:pt x="11629" y="0"/>
                  </a:moveTo>
                  <a:cubicBezTo>
                    <a:pt x="5221" y="0"/>
                    <a:pt x="0" y="5221"/>
                    <a:pt x="0" y="11866"/>
                  </a:cubicBezTo>
                  <a:cubicBezTo>
                    <a:pt x="0" y="18274"/>
                    <a:pt x="5221" y="23732"/>
                    <a:pt x="11629" y="23732"/>
                  </a:cubicBezTo>
                  <a:cubicBezTo>
                    <a:pt x="18037" y="23732"/>
                    <a:pt x="23258" y="18511"/>
                    <a:pt x="23258" y="11866"/>
                  </a:cubicBezTo>
                  <a:cubicBezTo>
                    <a:pt x="23495" y="5221"/>
                    <a:pt x="18274" y="0"/>
                    <a:pt x="11629" y="0"/>
                  </a:cubicBezTo>
                  <a:lnTo>
                    <a:pt x="11629" y="0"/>
                  </a:lnTo>
                  <a:close/>
                </a:path>
              </a:pathLst>
            </a:custGeom>
            <a:solidFill>
              <a:srgbClr val="4EB1FF"/>
            </a:solidFill>
            <a:ln w="2359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BFA7316-FABF-425B-A11B-1862FC6C97CD}"/>
                </a:ext>
              </a:extLst>
            </p:cNvPr>
            <p:cNvSpPr/>
            <p:nvPr/>
          </p:nvSpPr>
          <p:spPr>
            <a:xfrm>
              <a:off x="8762417" y="985773"/>
              <a:ext cx="21359" cy="21359"/>
            </a:xfrm>
            <a:custGeom>
              <a:avLst/>
              <a:gdLst>
                <a:gd name="connsiteX0" fmla="*/ 13971 w 21359"/>
                <a:gd name="connsiteY0" fmla="*/ 207 h 21359"/>
                <a:gd name="connsiteX1" fmla="*/ 207 w 21359"/>
                <a:gd name="connsiteY1" fmla="*/ 9462 h 21359"/>
                <a:gd name="connsiteX2" fmla="*/ 9462 w 21359"/>
                <a:gd name="connsiteY2" fmla="*/ 23227 h 21359"/>
                <a:gd name="connsiteX3" fmla="*/ 23227 w 21359"/>
                <a:gd name="connsiteY3" fmla="*/ 13971 h 21359"/>
                <a:gd name="connsiteX4" fmla="*/ 13971 w 21359"/>
                <a:gd name="connsiteY4" fmla="*/ 207 h 21359"/>
                <a:gd name="connsiteX5" fmla="*/ 13971 w 21359"/>
                <a:gd name="connsiteY5" fmla="*/ 207 h 21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59" h="21359">
                  <a:moveTo>
                    <a:pt x="13971" y="207"/>
                  </a:moveTo>
                  <a:cubicBezTo>
                    <a:pt x="7564" y="-980"/>
                    <a:pt x="1393" y="3055"/>
                    <a:pt x="207" y="9462"/>
                  </a:cubicBezTo>
                  <a:cubicBezTo>
                    <a:pt x="-980" y="15870"/>
                    <a:pt x="3055" y="22040"/>
                    <a:pt x="9462" y="23227"/>
                  </a:cubicBezTo>
                  <a:cubicBezTo>
                    <a:pt x="15870" y="24414"/>
                    <a:pt x="22040" y="20379"/>
                    <a:pt x="23227" y="13971"/>
                  </a:cubicBezTo>
                  <a:cubicBezTo>
                    <a:pt x="24651" y="7564"/>
                    <a:pt x="20379" y="1393"/>
                    <a:pt x="13971" y="207"/>
                  </a:cubicBezTo>
                  <a:lnTo>
                    <a:pt x="13971" y="207"/>
                  </a:lnTo>
                  <a:close/>
                </a:path>
              </a:pathLst>
            </a:custGeom>
            <a:solidFill>
              <a:srgbClr val="4EB1FF"/>
            </a:solidFill>
            <a:ln w="2359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3657BA17-ABE6-4359-9671-F046BACB9EC8}"/>
                </a:ext>
              </a:extLst>
            </p:cNvPr>
            <p:cNvSpPr/>
            <p:nvPr/>
          </p:nvSpPr>
          <p:spPr>
            <a:xfrm>
              <a:off x="8767132" y="1155191"/>
              <a:ext cx="21359" cy="23732"/>
            </a:xfrm>
            <a:custGeom>
              <a:avLst/>
              <a:gdLst>
                <a:gd name="connsiteX0" fmla="*/ 11629 w 21359"/>
                <a:gd name="connsiteY0" fmla="*/ 0 h 23732"/>
                <a:gd name="connsiteX1" fmla="*/ 0 w 21359"/>
                <a:gd name="connsiteY1" fmla="*/ 11866 h 23732"/>
                <a:gd name="connsiteX2" fmla="*/ 11629 w 21359"/>
                <a:gd name="connsiteY2" fmla="*/ 23732 h 23732"/>
                <a:gd name="connsiteX3" fmla="*/ 23258 w 21359"/>
                <a:gd name="connsiteY3" fmla="*/ 11866 h 23732"/>
                <a:gd name="connsiteX4" fmla="*/ 11629 w 21359"/>
                <a:gd name="connsiteY4" fmla="*/ 0 h 23732"/>
                <a:gd name="connsiteX5" fmla="*/ 11629 w 21359"/>
                <a:gd name="connsiteY5" fmla="*/ 0 h 2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59" h="23732">
                  <a:moveTo>
                    <a:pt x="11629" y="0"/>
                  </a:moveTo>
                  <a:cubicBezTo>
                    <a:pt x="5221" y="0"/>
                    <a:pt x="0" y="5221"/>
                    <a:pt x="0" y="11866"/>
                  </a:cubicBezTo>
                  <a:cubicBezTo>
                    <a:pt x="0" y="18274"/>
                    <a:pt x="5221" y="23732"/>
                    <a:pt x="11629" y="23732"/>
                  </a:cubicBezTo>
                  <a:cubicBezTo>
                    <a:pt x="18037" y="23732"/>
                    <a:pt x="23258" y="18511"/>
                    <a:pt x="23258" y="11866"/>
                  </a:cubicBezTo>
                  <a:cubicBezTo>
                    <a:pt x="23258" y="5221"/>
                    <a:pt x="18037" y="0"/>
                    <a:pt x="11629" y="0"/>
                  </a:cubicBezTo>
                  <a:lnTo>
                    <a:pt x="11629" y="0"/>
                  </a:lnTo>
                  <a:close/>
                </a:path>
              </a:pathLst>
            </a:custGeom>
            <a:solidFill>
              <a:srgbClr val="4EB1FF"/>
            </a:solidFill>
            <a:ln w="2359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85C695E-3835-4AD6-9787-CA3E8CDF5C7B}"/>
                </a:ext>
              </a:extLst>
            </p:cNvPr>
            <p:cNvSpPr/>
            <p:nvPr/>
          </p:nvSpPr>
          <p:spPr>
            <a:xfrm>
              <a:off x="8267568" y="1185094"/>
              <a:ext cx="1032354" cy="2373"/>
            </a:xfrm>
            <a:custGeom>
              <a:avLst/>
              <a:gdLst>
                <a:gd name="connsiteX0" fmla="*/ 0 w 1032353"/>
                <a:gd name="connsiteY0" fmla="*/ 0 h 0"/>
                <a:gd name="connsiteX1" fmla="*/ 1033778 w 1032353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2353">
                  <a:moveTo>
                    <a:pt x="0" y="0"/>
                  </a:moveTo>
                  <a:lnTo>
                    <a:pt x="1033778" y="0"/>
                  </a:lnTo>
                </a:path>
              </a:pathLst>
            </a:custGeom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0B4C145-A913-4940-BE96-FCFF7F465900}"/>
                </a:ext>
              </a:extLst>
            </p:cNvPr>
            <p:cNvSpPr/>
            <p:nvPr/>
          </p:nvSpPr>
          <p:spPr>
            <a:xfrm>
              <a:off x="8844737" y="620978"/>
              <a:ext cx="144767" cy="282414"/>
            </a:xfrm>
            <a:custGeom>
              <a:avLst/>
              <a:gdLst>
                <a:gd name="connsiteX0" fmla="*/ 109643 w 144766"/>
                <a:gd name="connsiteY0" fmla="*/ 0 h 282413"/>
                <a:gd name="connsiteX1" fmla="*/ 109643 w 144766"/>
                <a:gd name="connsiteY1" fmla="*/ 0 h 282413"/>
                <a:gd name="connsiteX2" fmla="*/ 145954 w 144766"/>
                <a:gd name="connsiteY2" fmla="*/ 86148 h 282413"/>
                <a:gd name="connsiteX3" fmla="*/ 110355 w 144766"/>
                <a:gd name="connsiteY3" fmla="*/ 173008 h 282413"/>
                <a:gd name="connsiteX4" fmla="*/ 0 w 144766"/>
                <a:gd name="connsiteY4" fmla="*/ 283363 h 282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766" h="282413">
                  <a:moveTo>
                    <a:pt x="109643" y="0"/>
                  </a:moveTo>
                  <a:lnTo>
                    <a:pt x="109643" y="0"/>
                  </a:lnTo>
                  <a:cubicBezTo>
                    <a:pt x="133613" y="23970"/>
                    <a:pt x="145241" y="55296"/>
                    <a:pt x="145954" y="86148"/>
                  </a:cubicBezTo>
                  <a:cubicBezTo>
                    <a:pt x="145954" y="117475"/>
                    <a:pt x="133613" y="149751"/>
                    <a:pt x="110355" y="173008"/>
                  </a:cubicBezTo>
                  <a:cubicBezTo>
                    <a:pt x="78079" y="205284"/>
                    <a:pt x="0" y="283363"/>
                    <a:pt x="0" y="283363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9C7FCA5E-9600-4ECC-9086-21E5BE84B945}"/>
                </a:ext>
              </a:extLst>
            </p:cNvPr>
            <p:cNvSpPr/>
            <p:nvPr/>
          </p:nvSpPr>
          <p:spPr>
            <a:xfrm>
              <a:off x="8841177" y="877761"/>
              <a:ext cx="28479" cy="28479"/>
            </a:xfrm>
            <a:custGeom>
              <a:avLst/>
              <a:gdLst>
                <a:gd name="connsiteX0" fmla="*/ 0 w 28478"/>
                <a:gd name="connsiteY0" fmla="*/ 0 h 28478"/>
                <a:gd name="connsiteX1" fmla="*/ 712 w 28478"/>
                <a:gd name="connsiteY1" fmla="*/ 23970 h 28478"/>
                <a:gd name="connsiteX2" fmla="*/ 5696 w 28478"/>
                <a:gd name="connsiteY2" fmla="*/ 28953 h 28478"/>
                <a:gd name="connsiteX3" fmla="*/ 29665 w 28478"/>
                <a:gd name="connsiteY3" fmla="*/ 29665 h 2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78" h="28478">
                  <a:moveTo>
                    <a:pt x="0" y="0"/>
                  </a:moveTo>
                  <a:cubicBezTo>
                    <a:pt x="712" y="23970"/>
                    <a:pt x="712" y="23970"/>
                    <a:pt x="712" y="23970"/>
                  </a:cubicBezTo>
                  <a:cubicBezTo>
                    <a:pt x="712" y="27292"/>
                    <a:pt x="2373" y="28953"/>
                    <a:pt x="5696" y="28953"/>
                  </a:cubicBezTo>
                  <a:cubicBezTo>
                    <a:pt x="29665" y="29665"/>
                    <a:pt x="29665" y="29665"/>
                    <a:pt x="29665" y="29665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8057A6C-D123-4E1A-B4C7-7BCDC7E6C443}"/>
                </a:ext>
              </a:extLst>
            </p:cNvPr>
            <p:cNvSpPr/>
            <p:nvPr/>
          </p:nvSpPr>
          <p:spPr>
            <a:xfrm>
              <a:off x="8332120" y="662035"/>
              <a:ext cx="237323" cy="374970"/>
            </a:xfrm>
            <a:custGeom>
              <a:avLst/>
              <a:gdLst>
                <a:gd name="connsiteX0" fmla="*/ 35598 w 237322"/>
                <a:gd name="connsiteY0" fmla="*/ 375682 h 374969"/>
                <a:gd name="connsiteX1" fmla="*/ 35598 w 237322"/>
                <a:gd name="connsiteY1" fmla="*/ 375682 h 374969"/>
                <a:gd name="connsiteX2" fmla="*/ 0 w 237322"/>
                <a:gd name="connsiteY2" fmla="*/ 288822 h 374969"/>
                <a:gd name="connsiteX3" fmla="*/ 36548 w 237322"/>
                <a:gd name="connsiteY3" fmla="*/ 202673 h 374969"/>
                <a:gd name="connsiteX4" fmla="*/ 239221 w 237322"/>
                <a:gd name="connsiteY4" fmla="*/ 0 h 374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322" h="374969">
                  <a:moveTo>
                    <a:pt x="35598" y="375682"/>
                  </a:moveTo>
                  <a:lnTo>
                    <a:pt x="35598" y="375682"/>
                  </a:lnTo>
                  <a:cubicBezTo>
                    <a:pt x="11629" y="351712"/>
                    <a:pt x="0" y="320148"/>
                    <a:pt x="0" y="288822"/>
                  </a:cubicBezTo>
                  <a:cubicBezTo>
                    <a:pt x="0" y="257258"/>
                    <a:pt x="12578" y="226643"/>
                    <a:pt x="36548" y="202673"/>
                  </a:cubicBezTo>
                  <a:cubicBezTo>
                    <a:pt x="68112" y="171110"/>
                    <a:pt x="239221" y="0"/>
                    <a:pt x="239221" y="0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65E4FFF-CABC-4047-9905-3F7E85DA91D3}"/>
                </a:ext>
              </a:extLst>
            </p:cNvPr>
            <p:cNvSpPr/>
            <p:nvPr/>
          </p:nvSpPr>
          <p:spPr>
            <a:xfrm>
              <a:off x="8543100" y="660373"/>
              <a:ext cx="28479" cy="28479"/>
            </a:xfrm>
            <a:custGeom>
              <a:avLst/>
              <a:gdLst>
                <a:gd name="connsiteX0" fmla="*/ 28953 w 28478"/>
                <a:gd name="connsiteY0" fmla="*/ 28953 h 28478"/>
                <a:gd name="connsiteX1" fmla="*/ 28953 w 28478"/>
                <a:gd name="connsiteY1" fmla="*/ 4034 h 28478"/>
                <a:gd name="connsiteX2" fmla="*/ 24919 w 28478"/>
                <a:gd name="connsiteY2" fmla="*/ 0 h 28478"/>
                <a:gd name="connsiteX3" fmla="*/ 0 w 28478"/>
                <a:gd name="connsiteY3" fmla="*/ 0 h 2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78" h="28478">
                  <a:moveTo>
                    <a:pt x="28953" y="28953"/>
                  </a:moveTo>
                  <a:cubicBezTo>
                    <a:pt x="28953" y="4034"/>
                    <a:pt x="28953" y="4034"/>
                    <a:pt x="28953" y="4034"/>
                  </a:cubicBezTo>
                  <a:cubicBezTo>
                    <a:pt x="28953" y="2373"/>
                    <a:pt x="26580" y="0"/>
                    <a:pt x="24919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DA343FB-355F-4A66-8451-22F3A5F59F23}"/>
                </a:ext>
              </a:extLst>
            </p:cNvPr>
            <p:cNvSpPr/>
            <p:nvPr/>
          </p:nvSpPr>
          <p:spPr>
            <a:xfrm>
              <a:off x="8630038" y="420203"/>
              <a:ext cx="465153" cy="256308"/>
            </a:xfrm>
            <a:custGeom>
              <a:avLst/>
              <a:gdLst>
                <a:gd name="connsiteX0" fmla="*/ 230125 w 465152"/>
                <a:gd name="connsiteY0" fmla="*/ 0 h 256308"/>
                <a:gd name="connsiteX1" fmla="*/ 331462 w 465152"/>
                <a:gd name="connsiteY1" fmla="*/ 67162 h 256308"/>
                <a:gd name="connsiteX2" fmla="*/ 332411 w 465152"/>
                <a:gd name="connsiteY2" fmla="*/ 70247 h 256308"/>
                <a:gd name="connsiteX3" fmla="*/ 341192 w 465152"/>
                <a:gd name="connsiteY3" fmla="*/ 66925 h 256308"/>
                <a:gd name="connsiteX4" fmla="*/ 370146 w 465152"/>
                <a:gd name="connsiteY4" fmla="*/ 62653 h 256308"/>
                <a:gd name="connsiteX5" fmla="*/ 467448 w 465152"/>
                <a:gd name="connsiteY5" fmla="*/ 160193 h 256308"/>
                <a:gd name="connsiteX6" fmla="*/ 380113 w 465152"/>
                <a:gd name="connsiteY6" fmla="*/ 257258 h 256308"/>
                <a:gd name="connsiteX7" fmla="*/ 372756 w 465152"/>
                <a:gd name="connsiteY7" fmla="*/ 257732 h 256308"/>
                <a:gd name="connsiteX8" fmla="*/ 368722 w 465152"/>
                <a:gd name="connsiteY8" fmla="*/ 258207 h 256308"/>
                <a:gd name="connsiteX9" fmla="*/ 54744 w 465152"/>
                <a:gd name="connsiteY9" fmla="*/ 258207 h 256308"/>
                <a:gd name="connsiteX10" fmla="*/ 50235 w 465152"/>
                <a:gd name="connsiteY10" fmla="*/ 258444 h 256308"/>
                <a:gd name="connsiteX11" fmla="*/ 39555 w 465152"/>
                <a:gd name="connsiteY11" fmla="*/ 256783 h 256308"/>
                <a:gd name="connsiteX12" fmla="*/ 1821 w 465152"/>
                <a:gd name="connsiteY12" fmla="*/ 191282 h 256308"/>
                <a:gd name="connsiteX13" fmla="*/ 56405 w 465152"/>
                <a:gd name="connsiteY13" fmla="*/ 151886 h 256308"/>
                <a:gd name="connsiteX14" fmla="*/ 60439 w 465152"/>
                <a:gd name="connsiteY14" fmla="*/ 152598 h 256308"/>
                <a:gd name="connsiteX15" fmla="*/ 59253 w 465152"/>
                <a:gd name="connsiteY15" fmla="*/ 145953 h 256308"/>
                <a:gd name="connsiteX16" fmla="*/ 67559 w 465152"/>
                <a:gd name="connsiteY16" fmla="*/ 110118 h 256308"/>
                <a:gd name="connsiteX17" fmla="*/ 117634 w 465152"/>
                <a:gd name="connsiteY17" fmla="*/ 78791 h 256308"/>
                <a:gd name="connsiteX18" fmla="*/ 124991 w 465152"/>
                <a:gd name="connsiteY18" fmla="*/ 79028 h 256308"/>
                <a:gd name="connsiteX19" fmla="*/ 125229 w 465152"/>
                <a:gd name="connsiteY19" fmla="*/ 77842 h 256308"/>
                <a:gd name="connsiteX20" fmla="*/ 230125 w 465152"/>
                <a:gd name="connsiteY20" fmla="*/ 0 h 256308"/>
                <a:gd name="connsiteX21" fmla="*/ 230125 w 465152"/>
                <a:gd name="connsiteY21" fmla="*/ 0 h 256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65152" h="256308">
                  <a:moveTo>
                    <a:pt x="230125" y="0"/>
                  </a:moveTo>
                  <a:cubicBezTo>
                    <a:pt x="275691" y="0"/>
                    <a:pt x="314612" y="27767"/>
                    <a:pt x="331462" y="67162"/>
                  </a:cubicBezTo>
                  <a:lnTo>
                    <a:pt x="332411" y="70247"/>
                  </a:lnTo>
                  <a:lnTo>
                    <a:pt x="341192" y="66925"/>
                  </a:lnTo>
                  <a:cubicBezTo>
                    <a:pt x="350448" y="64077"/>
                    <a:pt x="360178" y="62653"/>
                    <a:pt x="370146" y="62653"/>
                  </a:cubicBezTo>
                  <a:cubicBezTo>
                    <a:pt x="424018" y="62653"/>
                    <a:pt x="467448" y="106320"/>
                    <a:pt x="467448" y="160193"/>
                  </a:cubicBezTo>
                  <a:cubicBezTo>
                    <a:pt x="467448" y="210742"/>
                    <a:pt x="429239" y="252274"/>
                    <a:pt x="380113" y="257258"/>
                  </a:cubicBezTo>
                  <a:lnTo>
                    <a:pt x="372756" y="257732"/>
                  </a:lnTo>
                  <a:lnTo>
                    <a:pt x="368722" y="258207"/>
                  </a:lnTo>
                  <a:lnTo>
                    <a:pt x="54744" y="258207"/>
                  </a:lnTo>
                  <a:lnTo>
                    <a:pt x="50235" y="258444"/>
                  </a:lnTo>
                  <a:cubicBezTo>
                    <a:pt x="46675" y="258207"/>
                    <a:pt x="43115" y="257732"/>
                    <a:pt x="39555" y="256783"/>
                  </a:cubicBezTo>
                  <a:cubicBezTo>
                    <a:pt x="11076" y="249189"/>
                    <a:pt x="-5774" y="219761"/>
                    <a:pt x="1821" y="191282"/>
                  </a:cubicBezTo>
                  <a:cubicBezTo>
                    <a:pt x="8466" y="166363"/>
                    <a:pt x="31723" y="150225"/>
                    <a:pt x="56405" y="151886"/>
                  </a:cubicBezTo>
                  <a:lnTo>
                    <a:pt x="60439" y="152598"/>
                  </a:lnTo>
                  <a:lnTo>
                    <a:pt x="59253" y="145953"/>
                  </a:lnTo>
                  <a:cubicBezTo>
                    <a:pt x="58304" y="133850"/>
                    <a:pt x="60914" y="121509"/>
                    <a:pt x="67559" y="110118"/>
                  </a:cubicBezTo>
                  <a:cubicBezTo>
                    <a:pt x="78476" y="91369"/>
                    <a:pt x="97462" y="80215"/>
                    <a:pt x="117634" y="78791"/>
                  </a:cubicBezTo>
                  <a:lnTo>
                    <a:pt x="124991" y="79028"/>
                  </a:lnTo>
                  <a:lnTo>
                    <a:pt x="125229" y="77842"/>
                  </a:lnTo>
                  <a:cubicBezTo>
                    <a:pt x="138993" y="32513"/>
                    <a:pt x="180762" y="0"/>
                    <a:pt x="230125" y="0"/>
                  </a:cubicBezTo>
                  <a:lnTo>
                    <a:pt x="230125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400"/>
            </a:p>
          </p:txBody>
        </p:sp>
      </p:grpSp>
    </p:spTree>
    <p:extLst>
      <p:ext uri="{BB962C8B-B14F-4D97-AF65-F5344CB8AC3E}">
        <p14:creationId xmlns:p14="http://schemas.microsoft.com/office/powerpoint/2010/main" val="103109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47002CB-0CBF-474F-8180-EAFEB351F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/>
              <a:t>Azure Machine Learning servic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506B1C6-3B75-41F5-898D-8EF93163B5B5}"/>
              </a:ext>
            </a:extLst>
          </p:cNvPr>
          <p:cNvSpPr txBox="1"/>
          <p:nvPr/>
        </p:nvSpPr>
        <p:spPr>
          <a:xfrm>
            <a:off x="2595910" y="2249195"/>
            <a:ext cx="2460352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367"/>
            <a:r>
              <a:rPr lang="en-US" sz="2400">
                <a:solidFill>
                  <a:srgbClr val="0078D7"/>
                </a:solidFill>
                <a:latin typeface="Segoe UI Light"/>
                <a:cs typeface="Segoe UI Semilight" panose="020B0402040204020203" pitchFamily="34" charset="0"/>
              </a:rPr>
              <a:t>Set of Azure Cloud Servic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03340C8-4572-4242-8F0A-5D981F1288F4}"/>
              </a:ext>
            </a:extLst>
          </p:cNvPr>
          <p:cNvSpPr txBox="1"/>
          <p:nvPr/>
        </p:nvSpPr>
        <p:spPr>
          <a:xfrm>
            <a:off x="7106112" y="2273401"/>
            <a:ext cx="210556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367"/>
            <a:r>
              <a:rPr lang="en-US" sz="2400">
                <a:solidFill>
                  <a:srgbClr val="0078D7"/>
                </a:solidFill>
                <a:latin typeface="Segoe UI Light"/>
                <a:cs typeface="Segoe UI Semilight" panose="020B0402040204020203" pitchFamily="34" charset="0"/>
              </a:rPr>
              <a:t>Python </a:t>
            </a:r>
            <a:br>
              <a:rPr lang="en-US" sz="2400">
                <a:solidFill>
                  <a:srgbClr val="0078D7"/>
                </a:solidFill>
                <a:latin typeface="Segoe UI Light"/>
                <a:cs typeface="Segoe UI Semilight" panose="020B0402040204020203" pitchFamily="34" charset="0"/>
              </a:rPr>
            </a:br>
            <a:r>
              <a:rPr lang="en-US" sz="2400">
                <a:solidFill>
                  <a:srgbClr val="0078D7"/>
                </a:solidFill>
                <a:latin typeface="Segoe UI Light"/>
                <a:cs typeface="Segoe UI Semilight" panose="020B0402040204020203" pitchFamily="34" charset="0"/>
              </a:rPr>
              <a:t>SDK</a:t>
            </a:r>
          </a:p>
        </p:txBody>
      </p:sp>
      <p:sp>
        <p:nvSpPr>
          <p:cNvPr id="8" name="Plus Sign 7">
            <a:extLst>
              <a:ext uri="{FF2B5EF4-FFF2-40B4-BE49-F238E27FC236}">
                <a16:creationId xmlns:a16="http://schemas.microsoft.com/office/drawing/2014/main" id="{D2C09A9D-DD74-46D2-9B55-CF9457478808}"/>
              </a:ext>
            </a:extLst>
          </p:cNvPr>
          <p:cNvSpPr/>
          <p:nvPr/>
        </p:nvSpPr>
        <p:spPr bwMode="auto">
          <a:xfrm>
            <a:off x="5536375" y="2043259"/>
            <a:ext cx="1116137" cy="1150430"/>
          </a:xfrm>
          <a:prstGeom prst="mathPlus">
            <a:avLst>
              <a:gd name="adj1" fmla="val 6144"/>
            </a:avLst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0" rIns="0" bIns="46630" numCol="1" rtlCol="0" anchor="ctr" anchorCtr="0" compatLnSpc="1">
            <a:prstTxWarp prst="textNoShape">
              <a:avLst/>
            </a:prstTxWarp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438306B-38DB-4092-B616-C5D958CE069F}"/>
              </a:ext>
            </a:extLst>
          </p:cNvPr>
          <p:cNvGrpSpPr/>
          <p:nvPr/>
        </p:nvGrpSpPr>
        <p:grpSpPr>
          <a:xfrm>
            <a:off x="3044165" y="4867676"/>
            <a:ext cx="6531501" cy="1033790"/>
            <a:chOff x="4152559" y="4043525"/>
            <a:chExt cx="6532427" cy="1033937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2DD1468-FECB-41FA-AC16-3408551EDADE}"/>
                </a:ext>
              </a:extLst>
            </p:cNvPr>
            <p:cNvSpPr txBox="1"/>
            <p:nvPr/>
          </p:nvSpPr>
          <p:spPr>
            <a:xfrm>
              <a:off x="4152559" y="4043525"/>
              <a:ext cx="2441570" cy="9416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31730" indent="-231730" defTabSz="914367">
                <a:spcAft>
                  <a:spcPts val="300"/>
                </a:spcAft>
                <a:buClr>
                  <a:srgbClr val="0078D7"/>
                </a:buClr>
                <a:buFont typeface="Wingdings" panose="05000000000000000000" pitchFamily="2" charset="2"/>
                <a:buChar char="ü"/>
              </a:pPr>
              <a:r>
                <a:rPr lang="en-US" sz="1836" kern="0">
                  <a:solidFill>
                    <a:srgbClr val="1A1A1A"/>
                  </a:solidFill>
                  <a:latin typeface="Segoe UI Semilight"/>
                  <a:cs typeface="Segoe UI" pitchFamily="34" charset="0"/>
                </a:rPr>
                <a:t>Prepare Data</a:t>
              </a:r>
            </a:p>
            <a:p>
              <a:pPr marL="231730" indent="-231730" defTabSz="914367">
                <a:spcAft>
                  <a:spcPts val="300"/>
                </a:spcAft>
                <a:buClr>
                  <a:srgbClr val="0078D7"/>
                </a:buClr>
                <a:buFont typeface="Wingdings" panose="05000000000000000000" pitchFamily="2" charset="2"/>
                <a:buChar char="ü"/>
              </a:pPr>
              <a:r>
                <a:rPr lang="en-US" sz="1836" kern="0">
                  <a:solidFill>
                    <a:srgbClr val="1A1A1A"/>
                  </a:solidFill>
                  <a:latin typeface="Segoe UI Semilight"/>
                  <a:cs typeface="Segoe UI" pitchFamily="34" charset="0"/>
                </a:rPr>
                <a:t>Build Models</a:t>
              </a:r>
            </a:p>
            <a:p>
              <a:pPr marL="231730" indent="-231730" defTabSz="914367">
                <a:spcAft>
                  <a:spcPts val="300"/>
                </a:spcAft>
                <a:buClr>
                  <a:srgbClr val="0078D7"/>
                </a:buClr>
                <a:buFont typeface="Wingdings" panose="05000000000000000000" pitchFamily="2" charset="2"/>
                <a:buChar char="ü"/>
              </a:pPr>
              <a:r>
                <a:rPr lang="en-US" sz="1836" kern="0">
                  <a:solidFill>
                    <a:srgbClr val="1A1A1A"/>
                  </a:solidFill>
                  <a:latin typeface="Segoe UI Semilight"/>
                  <a:cs typeface="Segoe UI" pitchFamily="34" charset="0"/>
                </a:rPr>
                <a:t>Train Models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16A81F2-AA71-44BD-B31A-D0C4E6C248C4}"/>
                </a:ext>
              </a:extLst>
            </p:cNvPr>
            <p:cNvSpPr/>
            <p:nvPr/>
          </p:nvSpPr>
          <p:spPr>
            <a:xfrm>
              <a:off x="8108079" y="4043525"/>
              <a:ext cx="2576907" cy="103393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31730" indent="-231730" defTabSz="914367">
                <a:spcAft>
                  <a:spcPts val="300"/>
                </a:spcAft>
                <a:buClr>
                  <a:srgbClr val="0078D7"/>
                </a:buClr>
                <a:buFont typeface="Wingdings" panose="05000000000000000000" pitchFamily="2" charset="2"/>
                <a:buChar char="ü"/>
              </a:pPr>
              <a:r>
                <a:rPr lang="en-US" sz="1836" kern="0">
                  <a:solidFill>
                    <a:srgbClr val="1A1A1A"/>
                  </a:solidFill>
                  <a:latin typeface="Segoe UI Semilight"/>
                  <a:cs typeface="Segoe UI" pitchFamily="34" charset="0"/>
                </a:rPr>
                <a:t>Manage Models</a:t>
              </a:r>
            </a:p>
            <a:p>
              <a:pPr marL="231730" indent="-231730" defTabSz="914367">
                <a:spcAft>
                  <a:spcPts val="300"/>
                </a:spcAft>
                <a:buClr>
                  <a:srgbClr val="0078D7"/>
                </a:buClr>
                <a:buFont typeface="Wingdings" panose="05000000000000000000" pitchFamily="2" charset="2"/>
                <a:buChar char="ü"/>
              </a:pPr>
              <a:r>
                <a:rPr lang="en-US" sz="1836" kern="0">
                  <a:solidFill>
                    <a:srgbClr val="1A1A1A"/>
                  </a:solidFill>
                  <a:latin typeface="Segoe UI Semilight"/>
                  <a:cs typeface="Segoe UI" pitchFamily="34" charset="0"/>
                </a:rPr>
                <a:t>Track Experiments</a:t>
              </a:r>
            </a:p>
            <a:p>
              <a:pPr marL="231730" indent="-231730" defTabSz="914367">
                <a:spcAft>
                  <a:spcPts val="300"/>
                </a:spcAft>
                <a:buClr>
                  <a:srgbClr val="0078D7"/>
                </a:buClr>
                <a:buFont typeface="Wingdings" panose="05000000000000000000" pitchFamily="2" charset="2"/>
                <a:buChar char="ü"/>
              </a:pPr>
              <a:r>
                <a:rPr lang="en-US" sz="1836" kern="0">
                  <a:solidFill>
                    <a:srgbClr val="1A1A1A"/>
                  </a:solidFill>
                  <a:latin typeface="Segoe UI Semilight"/>
                  <a:cs typeface="Segoe UI" pitchFamily="34" charset="0"/>
                </a:rPr>
                <a:t>Deploy Models</a:t>
              </a: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A435112E-427D-457D-B471-D56A56E6D248}"/>
              </a:ext>
            </a:extLst>
          </p:cNvPr>
          <p:cNvSpPr txBox="1"/>
          <p:nvPr/>
        </p:nvSpPr>
        <p:spPr>
          <a:xfrm>
            <a:off x="4579409" y="4179271"/>
            <a:ext cx="3030069" cy="3693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367"/>
            <a:r>
              <a:rPr lang="en-US" sz="2400">
                <a:solidFill>
                  <a:srgbClr val="0078D7"/>
                </a:solidFill>
                <a:latin typeface="Segoe UI Light"/>
                <a:cs typeface="Segoe UI Semilight" panose="020B0402040204020203" pitchFamily="34" charset="0"/>
              </a:rPr>
              <a:t>That enables you to: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B067330-F922-44F0-AE63-9489E74C395C}"/>
              </a:ext>
            </a:extLst>
          </p:cNvPr>
          <p:cNvCxnSpPr>
            <a:cxnSpLocks/>
          </p:cNvCxnSpPr>
          <p:nvPr/>
        </p:nvCxnSpPr>
        <p:spPr>
          <a:xfrm>
            <a:off x="1664059" y="3541249"/>
            <a:ext cx="8578578" cy="0"/>
          </a:xfrm>
          <a:prstGeom prst="line">
            <a:avLst/>
          </a:prstGeom>
          <a:solidFill>
            <a:schemeClr val="accent5"/>
          </a:solidFill>
          <a:ln w="19050">
            <a:solidFill>
              <a:schemeClr val="tx2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67665774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D898F9A4-AEB7-40E4-A43B-DB35EF014B19}"/>
              </a:ext>
            </a:extLst>
          </p:cNvPr>
          <p:cNvSpPr/>
          <p:nvPr/>
        </p:nvSpPr>
        <p:spPr bwMode="auto">
          <a:xfrm>
            <a:off x="548899" y="1530135"/>
            <a:ext cx="11213564" cy="5025313"/>
          </a:xfrm>
          <a:prstGeom prst="rect">
            <a:avLst/>
          </a:prstGeom>
          <a:ln w="12700" cap="sq">
            <a:solidFill>
              <a:schemeClr val="tx2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32563"/>
            <a:endParaRPr lang="en-US" sz="180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2AF8EB9-E135-4A8A-A1AD-6F8B3C3C7E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zure ML servic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750FDDA-11A8-476C-94C9-86D0FCBD78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Key Artifact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9E7FF1E-8969-4851-BBE7-A96D576F23C8}"/>
              </a:ext>
            </a:extLst>
          </p:cNvPr>
          <p:cNvSpPr txBox="1"/>
          <p:nvPr/>
        </p:nvSpPr>
        <p:spPr>
          <a:xfrm>
            <a:off x="1242928" y="1921483"/>
            <a:ext cx="2493193" cy="313932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 algn="ctr" defTabSz="63420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40" b="1" kern="0">
                <a:solidFill>
                  <a:srgbClr val="0078D4"/>
                </a:solidFill>
                <a:latin typeface="Segoe UI Semibold" panose="020B0702040204020203" pitchFamily="34" charset="0"/>
              </a:rPr>
              <a:t>Workspac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3F6777E-C315-4976-B4F9-56FA0BE29EC5}"/>
              </a:ext>
            </a:extLst>
          </p:cNvPr>
          <p:cNvGrpSpPr/>
          <p:nvPr/>
        </p:nvGrpSpPr>
        <p:grpSpPr>
          <a:xfrm>
            <a:off x="780389" y="1758205"/>
            <a:ext cx="877637" cy="722760"/>
            <a:chOff x="10170589" y="2944568"/>
            <a:chExt cx="1749777" cy="1440993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6CD3DD6-AB24-4731-9309-72AB61490279}"/>
                </a:ext>
              </a:extLst>
            </p:cNvPr>
            <p:cNvSpPr/>
            <p:nvPr/>
          </p:nvSpPr>
          <p:spPr>
            <a:xfrm>
              <a:off x="10170589" y="2944568"/>
              <a:ext cx="1543921" cy="1440993"/>
            </a:xfrm>
            <a:custGeom>
              <a:avLst/>
              <a:gdLst>
                <a:gd name="connsiteX0" fmla="*/ 1469998 w 1543920"/>
                <a:gd name="connsiteY0" fmla="*/ 374302 h 1440992"/>
                <a:gd name="connsiteX1" fmla="*/ 1469998 w 1543920"/>
                <a:gd name="connsiteY1" fmla="*/ 252378 h 1440992"/>
                <a:gd name="connsiteX2" fmla="*/ 714226 w 1543920"/>
                <a:gd name="connsiteY2" fmla="*/ 252378 h 1440992"/>
                <a:gd name="connsiteX3" fmla="*/ 541094 w 1543920"/>
                <a:gd name="connsiteY3" fmla="*/ 77196 h 1440992"/>
                <a:gd name="connsiteX4" fmla="*/ 77196 w 1543920"/>
                <a:gd name="connsiteY4" fmla="*/ 77196 h 1440992"/>
                <a:gd name="connsiteX5" fmla="*/ 77196 w 1543920"/>
                <a:gd name="connsiteY5" fmla="*/ 1361053 h 1440992"/>
                <a:gd name="connsiteX6" fmla="*/ 156681 w 1543920"/>
                <a:gd name="connsiteY6" fmla="*/ 1427565 h 1440992"/>
                <a:gd name="connsiteX7" fmla="*/ 1456936 w 1543920"/>
                <a:gd name="connsiteY7" fmla="*/ 1427565 h 1440992"/>
                <a:gd name="connsiteX8" fmla="*/ 1523366 w 1543920"/>
                <a:gd name="connsiteY8" fmla="*/ 1361053 h 1440992"/>
                <a:gd name="connsiteX9" fmla="*/ 1523366 w 1543920"/>
                <a:gd name="connsiteY9" fmla="*/ 374302 h 1440992"/>
                <a:gd name="connsiteX10" fmla="*/ 1469998 w 1543920"/>
                <a:gd name="connsiteY10" fmla="*/ 374302 h 1440992"/>
                <a:gd name="connsiteX11" fmla="*/ 1469998 w 1543920"/>
                <a:gd name="connsiteY11" fmla="*/ 374302 h 1440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43920" h="1440992">
                  <a:moveTo>
                    <a:pt x="1469998" y="374302"/>
                  </a:moveTo>
                  <a:cubicBezTo>
                    <a:pt x="1469998" y="252378"/>
                    <a:pt x="1469998" y="252378"/>
                    <a:pt x="1469998" y="252378"/>
                  </a:cubicBezTo>
                  <a:cubicBezTo>
                    <a:pt x="714226" y="252378"/>
                    <a:pt x="714226" y="252378"/>
                    <a:pt x="714226" y="252378"/>
                  </a:cubicBezTo>
                  <a:cubicBezTo>
                    <a:pt x="541094" y="77196"/>
                    <a:pt x="541094" y="77196"/>
                    <a:pt x="541094" y="77196"/>
                  </a:cubicBezTo>
                  <a:cubicBezTo>
                    <a:pt x="77196" y="77196"/>
                    <a:pt x="77196" y="77196"/>
                    <a:pt x="77196" y="77196"/>
                  </a:cubicBezTo>
                  <a:cubicBezTo>
                    <a:pt x="77196" y="1361053"/>
                    <a:pt x="77196" y="1361053"/>
                    <a:pt x="77196" y="1361053"/>
                  </a:cubicBezTo>
                  <a:cubicBezTo>
                    <a:pt x="77196" y="1400958"/>
                    <a:pt x="117470" y="1427565"/>
                    <a:pt x="156681" y="1427565"/>
                  </a:cubicBezTo>
                  <a:cubicBezTo>
                    <a:pt x="1456936" y="1427565"/>
                    <a:pt x="1456936" y="1427565"/>
                    <a:pt x="1456936" y="1427565"/>
                  </a:cubicBezTo>
                  <a:cubicBezTo>
                    <a:pt x="1496152" y="1427565"/>
                    <a:pt x="1523366" y="1400958"/>
                    <a:pt x="1523366" y="1361053"/>
                  </a:cubicBezTo>
                  <a:cubicBezTo>
                    <a:pt x="1523366" y="374302"/>
                    <a:pt x="1523366" y="374302"/>
                    <a:pt x="1523366" y="374302"/>
                  </a:cubicBezTo>
                  <a:cubicBezTo>
                    <a:pt x="1469998" y="374302"/>
                    <a:pt x="1469998" y="374302"/>
                    <a:pt x="1469998" y="374302"/>
                  </a:cubicBezTo>
                  <a:cubicBezTo>
                    <a:pt x="1469998" y="374302"/>
                    <a:pt x="1469998" y="374302"/>
                    <a:pt x="1469998" y="374302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BB942D04-82E7-4E93-BE8C-1D9944E77F58}"/>
                </a:ext>
              </a:extLst>
            </p:cNvPr>
            <p:cNvSpPr/>
            <p:nvPr/>
          </p:nvSpPr>
          <p:spPr>
            <a:xfrm>
              <a:off x="10170589" y="2944568"/>
              <a:ext cx="1543921" cy="1440993"/>
            </a:xfrm>
            <a:custGeom>
              <a:avLst/>
              <a:gdLst>
                <a:gd name="connsiteX0" fmla="*/ 549744 w 1543920"/>
                <a:gd name="connsiteY0" fmla="*/ 77196 h 1440992"/>
                <a:gd name="connsiteX1" fmla="*/ 77196 w 1543920"/>
                <a:gd name="connsiteY1" fmla="*/ 77196 h 1440992"/>
                <a:gd name="connsiteX2" fmla="*/ 77196 w 1543920"/>
                <a:gd name="connsiteY2" fmla="*/ 1361053 h 1440992"/>
                <a:gd name="connsiteX3" fmla="*/ 146823 w 1543920"/>
                <a:gd name="connsiteY3" fmla="*/ 1427565 h 1440992"/>
                <a:gd name="connsiteX4" fmla="*/ 216451 w 1543920"/>
                <a:gd name="connsiteY4" fmla="*/ 1361053 h 1440992"/>
                <a:gd name="connsiteX5" fmla="*/ 216451 w 1543920"/>
                <a:gd name="connsiteY5" fmla="*/ 374302 h 1440992"/>
                <a:gd name="connsiteX6" fmla="*/ 1523366 w 1543920"/>
                <a:gd name="connsiteY6" fmla="*/ 374302 h 1440992"/>
                <a:gd name="connsiteX7" fmla="*/ 1523366 w 1543920"/>
                <a:gd name="connsiteY7" fmla="*/ 374302 h 1440992"/>
                <a:gd name="connsiteX8" fmla="*/ 1523366 w 1543920"/>
                <a:gd name="connsiteY8" fmla="*/ 374302 h 1440992"/>
                <a:gd name="connsiteX9" fmla="*/ 1523366 w 1543920"/>
                <a:gd name="connsiteY9" fmla="*/ 252378 h 1440992"/>
                <a:gd name="connsiteX10" fmla="*/ 897882 w 1543920"/>
                <a:gd name="connsiteY10" fmla="*/ 252378 h 1440992"/>
                <a:gd name="connsiteX11" fmla="*/ 731212 w 1543920"/>
                <a:gd name="connsiteY11" fmla="*/ 252378 h 1440992"/>
                <a:gd name="connsiteX12" fmla="*/ 549744 w 1543920"/>
                <a:gd name="connsiteY12" fmla="*/ 77196 h 1440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43920" h="1440992">
                  <a:moveTo>
                    <a:pt x="549744" y="77196"/>
                  </a:moveTo>
                  <a:cubicBezTo>
                    <a:pt x="77196" y="77196"/>
                    <a:pt x="77196" y="77196"/>
                    <a:pt x="77196" y="77196"/>
                  </a:cubicBezTo>
                  <a:cubicBezTo>
                    <a:pt x="77196" y="1361053"/>
                    <a:pt x="77196" y="1361053"/>
                    <a:pt x="77196" y="1361053"/>
                  </a:cubicBezTo>
                  <a:cubicBezTo>
                    <a:pt x="77196" y="1400958"/>
                    <a:pt x="105724" y="1427565"/>
                    <a:pt x="146823" y="1427565"/>
                  </a:cubicBezTo>
                  <a:cubicBezTo>
                    <a:pt x="175352" y="1427565"/>
                    <a:pt x="216451" y="1400958"/>
                    <a:pt x="216451" y="1361053"/>
                  </a:cubicBezTo>
                  <a:cubicBezTo>
                    <a:pt x="216451" y="374302"/>
                    <a:pt x="216451" y="374302"/>
                    <a:pt x="216451" y="374302"/>
                  </a:cubicBezTo>
                  <a:cubicBezTo>
                    <a:pt x="1523366" y="374302"/>
                    <a:pt x="1523366" y="374302"/>
                    <a:pt x="1523366" y="374302"/>
                  </a:cubicBezTo>
                  <a:cubicBezTo>
                    <a:pt x="1523366" y="374302"/>
                    <a:pt x="1523366" y="374302"/>
                    <a:pt x="1523366" y="374302"/>
                  </a:cubicBezTo>
                  <a:cubicBezTo>
                    <a:pt x="1523366" y="374302"/>
                    <a:pt x="1523366" y="374302"/>
                    <a:pt x="1523366" y="374302"/>
                  </a:cubicBezTo>
                  <a:cubicBezTo>
                    <a:pt x="1523366" y="252378"/>
                    <a:pt x="1523366" y="252378"/>
                    <a:pt x="1523366" y="252378"/>
                  </a:cubicBezTo>
                  <a:cubicBezTo>
                    <a:pt x="897882" y="252378"/>
                    <a:pt x="897882" y="252378"/>
                    <a:pt x="897882" y="252378"/>
                  </a:cubicBezTo>
                  <a:cubicBezTo>
                    <a:pt x="731212" y="252378"/>
                    <a:pt x="731212" y="252378"/>
                    <a:pt x="731212" y="252378"/>
                  </a:cubicBezTo>
                  <a:cubicBezTo>
                    <a:pt x="549744" y="77196"/>
                    <a:pt x="549744" y="77196"/>
                    <a:pt x="549744" y="77196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037D154E-4587-477B-AC93-68640734DF63}"/>
                </a:ext>
              </a:extLst>
            </p:cNvPr>
            <p:cNvGrpSpPr/>
            <p:nvPr/>
          </p:nvGrpSpPr>
          <p:grpSpPr>
            <a:xfrm>
              <a:off x="10730474" y="2967896"/>
              <a:ext cx="1189892" cy="1272330"/>
              <a:chOff x="8882196" y="3721867"/>
              <a:chExt cx="285941" cy="305752"/>
            </a:xfrm>
            <a:solidFill>
              <a:schemeClr val="bg1"/>
            </a:solidFill>
          </p:grpSpPr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19211359-0F4E-42C0-9D77-0A5D07DE0E9D}"/>
                  </a:ext>
                </a:extLst>
              </p:cNvPr>
              <p:cNvSpPr/>
              <p:nvPr/>
            </p:nvSpPr>
            <p:spPr bwMode="auto">
              <a:xfrm>
                <a:off x="8901347" y="3950022"/>
                <a:ext cx="247639" cy="77597"/>
              </a:xfrm>
              <a:prstGeom prst="rect">
                <a:avLst/>
              </a:prstGeom>
              <a:grpFill/>
              <a:ln w="12700" cap="flat" cmpd="sng" algn="ctr">
                <a:solidFill>
                  <a:schemeClr val="tx2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6" name="Freeform 123">
                <a:extLst>
                  <a:ext uri="{FF2B5EF4-FFF2-40B4-BE49-F238E27FC236}">
                    <a16:creationId xmlns:a16="http://schemas.microsoft.com/office/drawing/2014/main" id="{B19AC6FE-77E7-4221-855A-BDA59C1F65F6}"/>
                  </a:ext>
                </a:extLst>
              </p:cNvPr>
              <p:cNvSpPr/>
              <p:nvPr/>
            </p:nvSpPr>
            <p:spPr bwMode="auto">
              <a:xfrm>
                <a:off x="8882196" y="3721867"/>
                <a:ext cx="180942" cy="305752"/>
              </a:xfrm>
              <a:custGeom>
                <a:avLst/>
                <a:gdLst>
                  <a:gd name="connsiteX0" fmla="*/ 1641764 w 2847109"/>
                  <a:gd name="connsiteY0" fmla="*/ 0 h 4810991"/>
                  <a:gd name="connsiteX1" fmla="*/ 2847109 w 2847109"/>
                  <a:gd name="connsiteY1" fmla="*/ 0 h 4810991"/>
                  <a:gd name="connsiteX2" fmla="*/ 2847109 w 2847109"/>
                  <a:gd name="connsiteY2" fmla="*/ 1797627 h 4810991"/>
                  <a:gd name="connsiteX3" fmla="*/ 290946 w 2847109"/>
                  <a:gd name="connsiteY3" fmla="*/ 4810991 h 4810991"/>
                  <a:gd name="connsiteX4" fmla="*/ 0 w 2847109"/>
                  <a:gd name="connsiteY4" fmla="*/ 3647209 h 4810991"/>
                  <a:gd name="connsiteX5" fmla="*/ 1662546 w 2847109"/>
                  <a:gd name="connsiteY5" fmla="*/ 1787236 h 4810991"/>
                  <a:gd name="connsiteX6" fmla="*/ 1641764 w 2847109"/>
                  <a:gd name="connsiteY6" fmla="*/ 0 h 4810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47109" h="4810991">
                    <a:moveTo>
                      <a:pt x="1641764" y="0"/>
                    </a:moveTo>
                    <a:lnTo>
                      <a:pt x="2847109" y="0"/>
                    </a:lnTo>
                    <a:lnTo>
                      <a:pt x="2847109" y="1797627"/>
                    </a:lnTo>
                    <a:lnTo>
                      <a:pt x="290946" y="4810991"/>
                    </a:lnTo>
                    <a:lnTo>
                      <a:pt x="0" y="3647209"/>
                    </a:lnTo>
                    <a:lnTo>
                      <a:pt x="1662546" y="1787236"/>
                    </a:lnTo>
                    <a:lnTo>
                      <a:pt x="1641764" y="0"/>
                    </a:lnTo>
                    <a:close/>
                  </a:path>
                </a:pathLst>
              </a:custGeom>
              <a:grpFill/>
              <a:ln w="12700" cap="flat" cmpd="sng" algn="ctr">
                <a:solidFill>
                  <a:schemeClr val="tx2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8" name="Freeform 124">
                <a:extLst>
                  <a:ext uri="{FF2B5EF4-FFF2-40B4-BE49-F238E27FC236}">
                    <a16:creationId xmlns:a16="http://schemas.microsoft.com/office/drawing/2014/main" id="{0F31C74C-6305-4CD9-9DA5-A7DD79946916}"/>
                  </a:ext>
                </a:extLst>
              </p:cNvPr>
              <p:cNvSpPr/>
              <p:nvPr/>
            </p:nvSpPr>
            <p:spPr bwMode="auto">
              <a:xfrm>
                <a:off x="9035402" y="3857904"/>
                <a:ext cx="132735" cy="169715"/>
              </a:xfrm>
              <a:custGeom>
                <a:avLst/>
                <a:gdLst>
                  <a:gd name="connsiteX0" fmla="*/ 0 w 2088573"/>
                  <a:gd name="connsiteY0" fmla="*/ 883227 h 2670464"/>
                  <a:gd name="connsiteX1" fmla="*/ 737755 w 2088573"/>
                  <a:gd name="connsiteY1" fmla="*/ 0 h 2670464"/>
                  <a:gd name="connsiteX2" fmla="*/ 2088573 w 2088573"/>
                  <a:gd name="connsiteY2" fmla="*/ 1517073 h 2670464"/>
                  <a:gd name="connsiteX3" fmla="*/ 1797627 w 2088573"/>
                  <a:gd name="connsiteY3" fmla="*/ 2670464 h 2670464"/>
                  <a:gd name="connsiteX4" fmla="*/ 0 w 2088573"/>
                  <a:gd name="connsiteY4" fmla="*/ 883227 h 2670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88573" h="2670464">
                    <a:moveTo>
                      <a:pt x="0" y="883227"/>
                    </a:moveTo>
                    <a:lnTo>
                      <a:pt x="737755" y="0"/>
                    </a:lnTo>
                    <a:lnTo>
                      <a:pt x="2088573" y="1517073"/>
                    </a:lnTo>
                    <a:lnTo>
                      <a:pt x="1797627" y="2670464"/>
                    </a:lnTo>
                    <a:lnTo>
                      <a:pt x="0" y="883227"/>
                    </a:lnTo>
                    <a:close/>
                  </a:path>
                </a:pathLst>
              </a:custGeom>
              <a:grpFill/>
              <a:ln w="12700" cap="flat" cmpd="sng" algn="ctr">
                <a:solidFill>
                  <a:schemeClr val="tx2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3D397771-9145-46EC-9BBC-3F110A1D9A9C}"/>
              </a:ext>
            </a:extLst>
          </p:cNvPr>
          <p:cNvGrpSpPr/>
          <p:nvPr/>
        </p:nvGrpSpPr>
        <p:grpSpPr>
          <a:xfrm>
            <a:off x="2747991" y="3787679"/>
            <a:ext cx="508845" cy="508845"/>
            <a:chOff x="6064661" y="2331652"/>
            <a:chExt cx="674488" cy="674488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CD9783FF-783E-4F09-9C92-0E99E0458036}"/>
                </a:ext>
              </a:extLst>
            </p:cNvPr>
            <p:cNvGrpSpPr/>
            <p:nvPr/>
          </p:nvGrpSpPr>
          <p:grpSpPr>
            <a:xfrm>
              <a:off x="6064661" y="2331652"/>
              <a:ext cx="674488" cy="674488"/>
              <a:chOff x="6064661" y="2331652"/>
              <a:chExt cx="674488" cy="674488"/>
            </a:xfrm>
          </p:grpSpPr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9800990A-FF5D-40A7-B6A7-87640CB99728}"/>
                  </a:ext>
                </a:extLst>
              </p:cNvPr>
              <p:cNvSpPr/>
              <p:nvPr/>
            </p:nvSpPr>
            <p:spPr bwMode="auto">
              <a:xfrm>
                <a:off x="6211116" y="2331652"/>
                <a:ext cx="381577" cy="674488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BD6C6FB3-89AE-40FD-9523-BFB0492150BE}"/>
                  </a:ext>
                </a:extLst>
              </p:cNvPr>
              <p:cNvSpPr/>
              <p:nvPr/>
            </p:nvSpPr>
            <p:spPr bwMode="auto">
              <a:xfrm rot="3600000">
                <a:off x="6211116" y="2328651"/>
                <a:ext cx="381577" cy="674488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3C9C0708-7B5D-4EC8-866F-ED4383A9E013}"/>
                  </a:ext>
                </a:extLst>
              </p:cNvPr>
              <p:cNvSpPr/>
              <p:nvPr/>
            </p:nvSpPr>
            <p:spPr bwMode="auto">
              <a:xfrm rot="18000000">
                <a:off x="6211116" y="2328651"/>
                <a:ext cx="381577" cy="674488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7C5E9DB7-2B3B-4BB7-BBC3-B613EA1B388E}"/>
                </a:ext>
              </a:extLst>
            </p:cNvPr>
            <p:cNvSpPr/>
            <p:nvPr/>
          </p:nvSpPr>
          <p:spPr bwMode="auto">
            <a:xfrm>
              <a:off x="6301928" y="2568919"/>
              <a:ext cx="199955" cy="199955"/>
            </a:xfrm>
            <a:prstGeom prst="ellipse">
              <a:avLst/>
            </a:prstGeom>
            <a:noFill/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0E77EC65-FCAA-4CD1-9C95-B9DD727D3B7A}"/>
              </a:ext>
            </a:extLst>
          </p:cNvPr>
          <p:cNvSpPr txBox="1"/>
          <p:nvPr/>
        </p:nvSpPr>
        <p:spPr>
          <a:xfrm>
            <a:off x="3138417" y="4817829"/>
            <a:ext cx="2253625" cy="221599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lnSpc>
                <a:spcPct val="90000"/>
              </a:lnSpc>
              <a:spcAft>
                <a:spcPts val="988"/>
              </a:spcAft>
              <a:buSzPct val="90000"/>
              <a:defRPr sz="2000" dirty="0" err="1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defRPr>
            </a:pPr>
            <a:r>
              <a:rPr lang="en-US" sz="1600">
                <a:gradFill>
                  <a:gsLst>
                    <a:gs pos="40075">
                      <a:schemeClr val="accent2">
                        <a:lumMod val="50000"/>
                      </a:schemeClr>
                    </a:gs>
                    <a:gs pos="30000">
                      <a:schemeClr val="accent2">
                        <a:lumMod val="50000"/>
                      </a:schemeClr>
                    </a:gs>
                  </a:gsLst>
                  <a:lin ang="5400000" scaled="0"/>
                </a:gradFill>
              </a:rPr>
              <a:t>ML Pipelines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9D64D9EB-E6F0-423E-A242-F88BC7CFF8FD}"/>
              </a:ext>
            </a:extLst>
          </p:cNvPr>
          <p:cNvSpPr txBox="1"/>
          <p:nvPr/>
        </p:nvSpPr>
        <p:spPr>
          <a:xfrm>
            <a:off x="7384937" y="3106770"/>
            <a:ext cx="2053598" cy="365760"/>
          </a:xfrm>
          <a:prstGeom prst="rect">
            <a:avLst/>
          </a:prstGeom>
          <a:noFill/>
        </p:spPr>
        <p:txBody>
          <a:bodyPr wrap="square" lIns="182880" tIns="91440" rIns="91440" bIns="91440" rtlCol="0">
            <a:noAutofit/>
          </a:bodyPr>
          <a:lstStyle/>
          <a:p>
            <a:pPr>
              <a:lnSpc>
                <a:spcPct val="90000"/>
              </a:lnSpc>
              <a:spcAft>
                <a:spcPts val="988"/>
              </a:spcAft>
              <a:buSzPct val="90000"/>
              <a:defRPr sz="2000" dirty="0" err="1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defRPr>
            </a:pPr>
            <a:r>
              <a:rPr lang="en-US" sz="1600">
                <a:gradFill>
                  <a:gsLst>
                    <a:gs pos="40075">
                      <a:schemeClr val="accent2">
                        <a:lumMod val="50000"/>
                      </a:schemeClr>
                    </a:gs>
                    <a:gs pos="30000">
                      <a:schemeClr val="accent2">
                        <a:lumMod val="50000"/>
                      </a:schemeClr>
                    </a:gs>
                  </a:gsLst>
                  <a:lin ang="5400000" scaled="0"/>
                </a:gradFill>
              </a:rPr>
              <a:t>Deployments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751D8A37-0C1B-485F-AF10-30B71868BF45}"/>
              </a:ext>
            </a:extLst>
          </p:cNvPr>
          <p:cNvGrpSpPr/>
          <p:nvPr/>
        </p:nvGrpSpPr>
        <p:grpSpPr>
          <a:xfrm>
            <a:off x="6765695" y="3010221"/>
            <a:ext cx="541482" cy="479768"/>
            <a:chOff x="10902845" y="2693238"/>
            <a:chExt cx="644231" cy="570807"/>
          </a:xfrm>
        </p:grpSpPr>
        <p:sp>
          <p:nvSpPr>
            <p:cNvPr id="75" name="Freeform 146">
              <a:extLst>
                <a:ext uri="{FF2B5EF4-FFF2-40B4-BE49-F238E27FC236}">
                  <a16:creationId xmlns:a16="http://schemas.microsoft.com/office/drawing/2014/main" id="{622408A0-BE1A-43D4-8247-86103A7667F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902845" y="2693238"/>
              <a:ext cx="644231" cy="407997"/>
            </a:xfrm>
            <a:custGeom>
              <a:avLst/>
              <a:gdLst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246680 w 878349"/>
                <a:gd name="connsiteY17" fmla="*/ 161619 h 545581"/>
                <a:gd name="connsiteX18" fmla="*/ 490507 w 878349"/>
                <a:gd name="connsiteY18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12 h 545593"/>
                <a:gd name="connsiteX1" fmla="*/ 755129 w 878349"/>
                <a:gd name="connsiteY1" fmla="*/ 264634 h 545593"/>
                <a:gd name="connsiteX2" fmla="*/ 753041 w 878349"/>
                <a:gd name="connsiteY2" fmla="*/ 285343 h 545593"/>
                <a:gd name="connsiteX3" fmla="*/ 798544 w 878349"/>
                <a:gd name="connsiteY3" fmla="*/ 294530 h 545593"/>
                <a:gd name="connsiteX4" fmla="*/ 878349 w 878349"/>
                <a:gd name="connsiteY4" fmla="*/ 414927 h 545593"/>
                <a:gd name="connsiteX5" fmla="*/ 798544 w 878349"/>
                <a:gd name="connsiteY5" fmla="*/ 535325 h 545593"/>
                <a:gd name="connsiteX6" fmla="*/ 759827 w 878349"/>
                <a:gd name="connsiteY6" fmla="*/ 543141 h 545593"/>
                <a:gd name="connsiteX7" fmla="*/ 753908 w 878349"/>
                <a:gd name="connsiteY7" fmla="*/ 545593 h 545593"/>
                <a:gd name="connsiteX8" fmla="*/ 747683 w 878349"/>
                <a:gd name="connsiteY8" fmla="*/ 545593 h 545593"/>
                <a:gd name="connsiteX9" fmla="*/ 190471 w 878349"/>
                <a:gd name="connsiteY9" fmla="*/ 545593 h 545593"/>
                <a:gd name="connsiteX10" fmla="*/ 166602 w 878349"/>
                <a:gd name="connsiteY10" fmla="*/ 545593 h 545593"/>
                <a:gd name="connsiteX11" fmla="*/ 158924 w 878349"/>
                <a:gd name="connsiteY11" fmla="*/ 542413 h 545593"/>
                <a:gd name="connsiteX12" fmla="*/ 152084 w 878349"/>
                <a:gd name="connsiteY12" fmla="*/ 541724 h 545593"/>
                <a:gd name="connsiteX13" fmla="*/ 0 w 878349"/>
                <a:gd name="connsiteY13" fmla="*/ 355122 h 545593"/>
                <a:gd name="connsiteX14" fmla="*/ 190471 w 878349"/>
                <a:gd name="connsiteY14" fmla="*/ 164651 h 545593"/>
                <a:gd name="connsiteX15" fmla="*/ 228858 w 878349"/>
                <a:gd name="connsiteY15" fmla="*/ 168521 h 545593"/>
                <a:gd name="connsiteX16" fmla="*/ 244320 w 878349"/>
                <a:gd name="connsiteY16" fmla="*/ 173321 h 545593"/>
                <a:gd name="connsiteX17" fmla="*/ 490507 w 878349"/>
                <a:gd name="connsiteY17" fmla="*/ 12 h 545593"/>
                <a:gd name="connsiteX0" fmla="*/ 490507 w 878349"/>
                <a:gd name="connsiteY0" fmla="*/ 13 h 545594"/>
                <a:gd name="connsiteX1" fmla="*/ 755129 w 878349"/>
                <a:gd name="connsiteY1" fmla="*/ 264635 h 545594"/>
                <a:gd name="connsiteX2" fmla="*/ 753041 w 878349"/>
                <a:gd name="connsiteY2" fmla="*/ 285344 h 545594"/>
                <a:gd name="connsiteX3" fmla="*/ 798544 w 878349"/>
                <a:gd name="connsiteY3" fmla="*/ 294531 h 545594"/>
                <a:gd name="connsiteX4" fmla="*/ 878349 w 878349"/>
                <a:gd name="connsiteY4" fmla="*/ 414928 h 545594"/>
                <a:gd name="connsiteX5" fmla="*/ 798544 w 878349"/>
                <a:gd name="connsiteY5" fmla="*/ 535326 h 545594"/>
                <a:gd name="connsiteX6" fmla="*/ 759827 w 878349"/>
                <a:gd name="connsiteY6" fmla="*/ 543142 h 545594"/>
                <a:gd name="connsiteX7" fmla="*/ 753908 w 878349"/>
                <a:gd name="connsiteY7" fmla="*/ 545594 h 545594"/>
                <a:gd name="connsiteX8" fmla="*/ 747683 w 878349"/>
                <a:gd name="connsiteY8" fmla="*/ 545594 h 545594"/>
                <a:gd name="connsiteX9" fmla="*/ 190471 w 878349"/>
                <a:gd name="connsiteY9" fmla="*/ 545594 h 545594"/>
                <a:gd name="connsiteX10" fmla="*/ 166602 w 878349"/>
                <a:gd name="connsiteY10" fmla="*/ 545594 h 545594"/>
                <a:gd name="connsiteX11" fmla="*/ 158924 w 878349"/>
                <a:gd name="connsiteY11" fmla="*/ 542414 h 545594"/>
                <a:gd name="connsiteX12" fmla="*/ 152084 w 878349"/>
                <a:gd name="connsiteY12" fmla="*/ 541725 h 545594"/>
                <a:gd name="connsiteX13" fmla="*/ 0 w 878349"/>
                <a:gd name="connsiteY13" fmla="*/ 355123 h 545594"/>
                <a:gd name="connsiteX14" fmla="*/ 190471 w 878349"/>
                <a:gd name="connsiteY14" fmla="*/ 164652 h 545594"/>
                <a:gd name="connsiteX15" fmla="*/ 228858 w 878349"/>
                <a:gd name="connsiteY15" fmla="*/ 168522 h 545594"/>
                <a:gd name="connsiteX16" fmla="*/ 244320 w 878349"/>
                <a:gd name="connsiteY16" fmla="*/ 173322 h 545594"/>
                <a:gd name="connsiteX17" fmla="*/ 490507 w 878349"/>
                <a:gd name="connsiteY17" fmla="*/ 13 h 545594"/>
                <a:gd name="connsiteX0" fmla="*/ 490507 w 878349"/>
                <a:gd name="connsiteY0" fmla="*/ 471 h 546052"/>
                <a:gd name="connsiteX1" fmla="*/ 755129 w 878349"/>
                <a:gd name="connsiteY1" fmla="*/ 265093 h 546052"/>
                <a:gd name="connsiteX2" fmla="*/ 753041 w 878349"/>
                <a:gd name="connsiteY2" fmla="*/ 285802 h 546052"/>
                <a:gd name="connsiteX3" fmla="*/ 798544 w 878349"/>
                <a:gd name="connsiteY3" fmla="*/ 294989 h 546052"/>
                <a:gd name="connsiteX4" fmla="*/ 878349 w 878349"/>
                <a:gd name="connsiteY4" fmla="*/ 415386 h 546052"/>
                <a:gd name="connsiteX5" fmla="*/ 798544 w 878349"/>
                <a:gd name="connsiteY5" fmla="*/ 535784 h 546052"/>
                <a:gd name="connsiteX6" fmla="*/ 759827 w 878349"/>
                <a:gd name="connsiteY6" fmla="*/ 543600 h 546052"/>
                <a:gd name="connsiteX7" fmla="*/ 753908 w 878349"/>
                <a:gd name="connsiteY7" fmla="*/ 546052 h 546052"/>
                <a:gd name="connsiteX8" fmla="*/ 747683 w 878349"/>
                <a:gd name="connsiteY8" fmla="*/ 546052 h 546052"/>
                <a:gd name="connsiteX9" fmla="*/ 190471 w 878349"/>
                <a:gd name="connsiteY9" fmla="*/ 546052 h 546052"/>
                <a:gd name="connsiteX10" fmla="*/ 166602 w 878349"/>
                <a:gd name="connsiteY10" fmla="*/ 546052 h 546052"/>
                <a:gd name="connsiteX11" fmla="*/ 158924 w 878349"/>
                <a:gd name="connsiteY11" fmla="*/ 542872 h 546052"/>
                <a:gd name="connsiteX12" fmla="*/ 152084 w 878349"/>
                <a:gd name="connsiteY12" fmla="*/ 542183 h 546052"/>
                <a:gd name="connsiteX13" fmla="*/ 0 w 878349"/>
                <a:gd name="connsiteY13" fmla="*/ 355581 h 546052"/>
                <a:gd name="connsiteX14" fmla="*/ 190471 w 878349"/>
                <a:gd name="connsiteY14" fmla="*/ 165110 h 546052"/>
                <a:gd name="connsiteX15" fmla="*/ 228858 w 878349"/>
                <a:gd name="connsiteY15" fmla="*/ 168980 h 546052"/>
                <a:gd name="connsiteX16" fmla="*/ 244320 w 878349"/>
                <a:gd name="connsiteY16" fmla="*/ 173780 h 546052"/>
                <a:gd name="connsiteX17" fmla="*/ 490507 w 878349"/>
                <a:gd name="connsiteY17" fmla="*/ 471 h 546052"/>
                <a:gd name="connsiteX0" fmla="*/ 490507 w 878349"/>
                <a:gd name="connsiteY0" fmla="*/ 2380 h 547961"/>
                <a:gd name="connsiteX1" fmla="*/ 753041 w 878349"/>
                <a:gd name="connsiteY1" fmla="*/ 287711 h 547961"/>
                <a:gd name="connsiteX2" fmla="*/ 798544 w 878349"/>
                <a:gd name="connsiteY2" fmla="*/ 296898 h 547961"/>
                <a:gd name="connsiteX3" fmla="*/ 878349 w 878349"/>
                <a:gd name="connsiteY3" fmla="*/ 417295 h 547961"/>
                <a:gd name="connsiteX4" fmla="*/ 798544 w 878349"/>
                <a:gd name="connsiteY4" fmla="*/ 537693 h 547961"/>
                <a:gd name="connsiteX5" fmla="*/ 759827 w 878349"/>
                <a:gd name="connsiteY5" fmla="*/ 545509 h 547961"/>
                <a:gd name="connsiteX6" fmla="*/ 753908 w 878349"/>
                <a:gd name="connsiteY6" fmla="*/ 547961 h 547961"/>
                <a:gd name="connsiteX7" fmla="*/ 747683 w 878349"/>
                <a:gd name="connsiteY7" fmla="*/ 547961 h 547961"/>
                <a:gd name="connsiteX8" fmla="*/ 190471 w 878349"/>
                <a:gd name="connsiteY8" fmla="*/ 547961 h 547961"/>
                <a:gd name="connsiteX9" fmla="*/ 166602 w 878349"/>
                <a:gd name="connsiteY9" fmla="*/ 547961 h 547961"/>
                <a:gd name="connsiteX10" fmla="*/ 158924 w 878349"/>
                <a:gd name="connsiteY10" fmla="*/ 544781 h 547961"/>
                <a:gd name="connsiteX11" fmla="*/ 152084 w 878349"/>
                <a:gd name="connsiteY11" fmla="*/ 544092 h 547961"/>
                <a:gd name="connsiteX12" fmla="*/ 0 w 878349"/>
                <a:gd name="connsiteY12" fmla="*/ 357490 h 547961"/>
                <a:gd name="connsiteX13" fmla="*/ 190471 w 878349"/>
                <a:gd name="connsiteY13" fmla="*/ 167019 h 547961"/>
                <a:gd name="connsiteX14" fmla="*/ 228858 w 878349"/>
                <a:gd name="connsiteY14" fmla="*/ 170889 h 547961"/>
                <a:gd name="connsiteX15" fmla="*/ 244320 w 878349"/>
                <a:gd name="connsiteY15" fmla="*/ 175689 h 547961"/>
                <a:gd name="connsiteX16" fmla="*/ 490507 w 878349"/>
                <a:gd name="connsiteY16" fmla="*/ 2380 h 54796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526204 w 878349"/>
                <a:gd name="connsiteY0" fmla="*/ 25 h 542852"/>
                <a:gd name="connsiteX1" fmla="*/ 753041 w 878349"/>
                <a:gd name="connsiteY1" fmla="*/ 282602 h 542852"/>
                <a:gd name="connsiteX2" fmla="*/ 798544 w 878349"/>
                <a:gd name="connsiteY2" fmla="*/ 291789 h 542852"/>
                <a:gd name="connsiteX3" fmla="*/ 878349 w 878349"/>
                <a:gd name="connsiteY3" fmla="*/ 412186 h 542852"/>
                <a:gd name="connsiteX4" fmla="*/ 798544 w 878349"/>
                <a:gd name="connsiteY4" fmla="*/ 532584 h 542852"/>
                <a:gd name="connsiteX5" fmla="*/ 759827 w 878349"/>
                <a:gd name="connsiteY5" fmla="*/ 540400 h 542852"/>
                <a:gd name="connsiteX6" fmla="*/ 753908 w 878349"/>
                <a:gd name="connsiteY6" fmla="*/ 542852 h 542852"/>
                <a:gd name="connsiteX7" fmla="*/ 747683 w 878349"/>
                <a:gd name="connsiteY7" fmla="*/ 542852 h 542852"/>
                <a:gd name="connsiteX8" fmla="*/ 190471 w 878349"/>
                <a:gd name="connsiteY8" fmla="*/ 542852 h 542852"/>
                <a:gd name="connsiteX9" fmla="*/ 166602 w 878349"/>
                <a:gd name="connsiteY9" fmla="*/ 542852 h 542852"/>
                <a:gd name="connsiteX10" fmla="*/ 158924 w 878349"/>
                <a:gd name="connsiteY10" fmla="*/ 539672 h 542852"/>
                <a:gd name="connsiteX11" fmla="*/ 152084 w 878349"/>
                <a:gd name="connsiteY11" fmla="*/ 538983 h 542852"/>
                <a:gd name="connsiteX12" fmla="*/ 0 w 878349"/>
                <a:gd name="connsiteY12" fmla="*/ 352381 h 542852"/>
                <a:gd name="connsiteX13" fmla="*/ 190471 w 878349"/>
                <a:gd name="connsiteY13" fmla="*/ 161910 h 542852"/>
                <a:gd name="connsiteX14" fmla="*/ 228858 w 878349"/>
                <a:gd name="connsiteY14" fmla="*/ 165780 h 542852"/>
                <a:gd name="connsiteX15" fmla="*/ 244320 w 878349"/>
                <a:gd name="connsiteY15" fmla="*/ 170580 h 542852"/>
                <a:gd name="connsiteX16" fmla="*/ 526204 w 878349"/>
                <a:gd name="connsiteY16" fmla="*/ 25 h 542852"/>
                <a:gd name="connsiteX0" fmla="*/ 526204 w 878349"/>
                <a:gd name="connsiteY0" fmla="*/ 3284 h 546111"/>
                <a:gd name="connsiteX1" fmla="*/ 753041 w 878349"/>
                <a:gd name="connsiteY1" fmla="*/ 285861 h 546111"/>
                <a:gd name="connsiteX2" fmla="*/ 798544 w 878349"/>
                <a:gd name="connsiteY2" fmla="*/ 295048 h 546111"/>
                <a:gd name="connsiteX3" fmla="*/ 878349 w 878349"/>
                <a:gd name="connsiteY3" fmla="*/ 415445 h 546111"/>
                <a:gd name="connsiteX4" fmla="*/ 798544 w 878349"/>
                <a:gd name="connsiteY4" fmla="*/ 535843 h 546111"/>
                <a:gd name="connsiteX5" fmla="*/ 759827 w 878349"/>
                <a:gd name="connsiteY5" fmla="*/ 543659 h 546111"/>
                <a:gd name="connsiteX6" fmla="*/ 753908 w 878349"/>
                <a:gd name="connsiteY6" fmla="*/ 546111 h 546111"/>
                <a:gd name="connsiteX7" fmla="*/ 747683 w 878349"/>
                <a:gd name="connsiteY7" fmla="*/ 546111 h 546111"/>
                <a:gd name="connsiteX8" fmla="*/ 190471 w 878349"/>
                <a:gd name="connsiteY8" fmla="*/ 546111 h 546111"/>
                <a:gd name="connsiteX9" fmla="*/ 166602 w 878349"/>
                <a:gd name="connsiteY9" fmla="*/ 546111 h 546111"/>
                <a:gd name="connsiteX10" fmla="*/ 158924 w 878349"/>
                <a:gd name="connsiteY10" fmla="*/ 542931 h 546111"/>
                <a:gd name="connsiteX11" fmla="*/ 152084 w 878349"/>
                <a:gd name="connsiteY11" fmla="*/ 542242 h 546111"/>
                <a:gd name="connsiteX12" fmla="*/ 0 w 878349"/>
                <a:gd name="connsiteY12" fmla="*/ 355640 h 546111"/>
                <a:gd name="connsiteX13" fmla="*/ 190471 w 878349"/>
                <a:gd name="connsiteY13" fmla="*/ 165169 h 546111"/>
                <a:gd name="connsiteX14" fmla="*/ 228858 w 878349"/>
                <a:gd name="connsiteY14" fmla="*/ 169039 h 546111"/>
                <a:gd name="connsiteX15" fmla="*/ 244320 w 878349"/>
                <a:gd name="connsiteY15" fmla="*/ 173839 h 546111"/>
                <a:gd name="connsiteX16" fmla="*/ 526204 w 878349"/>
                <a:gd name="connsiteY16" fmla="*/ 3284 h 546111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912 h 543739"/>
                <a:gd name="connsiteX1" fmla="*/ 753041 w 878349"/>
                <a:gd name="connsiteY1" fmla="*/ 283489 h 543739"/>
                <a:gd name="connsiteX2" fmla="*/ 798544 w 878349"/>
                <a:gd name="connsiteY2" fmla="*/ 292676 h 543739"/>
                <a:gd name="connsiteX3" fmla="*/ 878349 w 878349"/>
                <a:gd name="connsiteY3" fmla="*/ 413073 h 543739"/>
                <a:gd name="connsiteX4" fmla="*/ 798544 w 878349"/>
                <a:gd name="connsiteY4" fmla="*/ 533471 h 543739"/>
                <a:gd name="connsiteX5" fmla="*/ 759827 w 878349"/>
                <a:gd name="connsiteY5" fmla="*/ 541287 h 543739"/>
                <a:gd name="connsiteX6" fmla="*/ 753908 w 878349"/>
                <a:gd name="connsiteY6" fmla="*/ 543739 h 543739"/>
                <a:gd name="connsiteX7" fmla="*/ 747683 w 878349"/>
                <a:gd name="connsiteY7" fmla="*/ 543739 h 543739"/>
                <a:gd name="connsiteX8" fmla="*/ 190471 w 878349"/>
                <a:gd name="connsiteY8" fmla="*/ 543739 h 543739"/>
                <a:gd name="connsiteX9" fmla="*/ 166602 w 878349"/>
                <a:gd name="connsiteY9" fmla="*/ 543739 h 543739"/>
                <a:gd name="connsiteX10" fmla="*/ 158924 w 878349"/>
                <a:gd name="connsiteY10" fmla="*/ 540559 h 543739"/>
                <a:gd name="connsiteX11" fmla="*/ 152084 w 878349"/>
                <a:gd name="connsiteY11" fmla="*/ 539870 h 543739"/>
                <a:gd name="connsiteX12" fmla="*/ 0 w 878349"/>
                <a:gd name="connsiteY12" fmla="*/ 353268 h 543739"/>
                <a:gd name="connsiteX13" fmla="*/ 190471 w 878349"/>
                <a:gd name="connsiteY13" fmla="*/ 162797 h 543739"/>
                <a:gd name="connsiteX14" fmla="*/ 228858 w 878349"/>
                <a:gd name="connsiteY14" fmla="*/ 166667 h 543739"/>
                <a:gd name="connsiteX15" fmla="*/ 244320 w 878349"/>
                <a:gd name="connsiteY15" fmla="*/ 171467 h 543739"/>
                <a:gd name="connsiteX16" fmla="*/ 526204 w 878349"/>
                <a:gd name="connsiteY16" fmla="*/ 912 h 543739"/>
                <a:gd name="connsiteX0" fmla="*/ 526204 w 878349"/>
                <a:gd name="connsiteY0" fmla="*/ 2110 h 544937"/>
                <a:gd name="connsiteX1" fmla="*/ 753041 w 878349"/>
                <a:gd name="connsiteY1" fmla="*/ 284687 h 544937"/>
                <a:gd name="connsiteX2" fmla="*/ 798544 w 878349"/>
                <a:gd name="connsiteY2" fmla="*/ 293874 h 544937"/>
                <a:gd name="connsiteX3" fmla="*/ 878349 w 878349"/>
                <a:gd name="connsiteY3" fmla="*/ 414271 h 544937"/>
                <a:gd name="connsiteX4" fmla="*/ 798544 w 878349"/>
                <a:gd name="connsiteY4" fmla="*/ 534669 h 544937"/>
                <a:gd name="connsiteX5" fmla="*/ 759827 w 878349"/>
                <a:gd name="connsiteY5" fmla="*/ 542485 h 544937"/>
                <a:gd name="connsiteX6" fmla="*/ 753908 w 878349"/>
                <a:gd name="connsiteY6" fmla="*/ 544937 h 544937"/>
                <a:gd name="connsiteX7" fmla="*/ 747683 w 878349"/>
                <a:gd name="connsiteY7" fmla="*/ 544937 h 544937"/>
                <a:gd name="connsiteX8" fmla="*/ 190471 w 878349"/>
                <a:gd name="connsiteY8" fmla="*/ 544937 h 544937"/>
                <a:gd name="connsiteX9" fmla="*/ 166602 w 878349"/>
                <a:gd name="connsiteY9" fmla="*/ 544937 h 544937"/>
                <a:gd name="connsiteX10" fmla="*/ 158924 w 878349"/>
                <a:gd name="connsiteY10" fmla="*/ 541757 h 544937"/>
                <a:gd name="connsiteX11" fmla="*/ 152084 w 878349"/>
                <a:gd name="connsiteY11" fmla="*/ 541068 h 544937"/>
                <a:gd name="connsiteX12" fmla="*/ 0 w 878349"/>
                <a:gd name="connsiteY12" fmla="*/ 354466 h 544937"/>
                <a:gd name="connsiteX13" fmla="*/ 190471 w 878349"/>
                <a:gd name="connsiteY13" fmla="*/ 163995 h 544937"/>
                <a:gd name="connsiteX14" fmla="*/ 228858 w 878349"/>
                <a:gd name="connsiteY14" fmla="*/ 167865 h 544937"/>
                <a:gd name="connsiteX15" fmla="*/ 244320 w 878349"/>
                <a:gd name="connsiteY15" fmla="*/ 172665 h 544937"/>
                <a:gd name="connsiteX16" fmla="*/ 526204 w 878349"/>
                <a:gd name="connsiteY16" fmla="*/ 2110 h 544937"/>
                <a:gd name="connsiteX0" fmla="*/ 526204 w 878349"/>
                <a:gd name="connsiteY0" fmla="*/ 2045 h 544872"/>
                <a:gd name="connsiteX1" fmla="*/ 753041 w 878349"/>
                <a:gd name="connsiteY1" fmla="*/ 284622 h 544872"/>
                <a:gd name="connsiteX2" fmla="*/ 798544 w 878349"/>
                <a:gd name="connsiteY2" fmla="*/ 293809 h 544872"/>
                <a:gd name="connsiteX3" fmla="*/ 878349 w 878349"/>
                <a:gd name="connsiteY3" fmla="*/ 414206 h 544872"/>
                <a:gd name="connsiteX4" fmla="*/ 798544 w 878349"/>
                <a:gd name="connsiteY4" fmla="*/ 534604 h 544872"/>
                <a:gd name="connsiteX5" fmla="*/ 759827 w 878349"/>
                <a:gd name="connsiteY5" fmla="*/ 542420 h 544872"/>
                <a:gd name="connsiteX6" fmla="*/ 753908 w 878349"/>
                <a:gd name="connsiteY6" fmla="*/ 544872 h 544872"/>
                <a:gd name="connsiteX7" fmla="*/ 747683 w 878349"/>
                <a:gd name="connsiteY7" fmla="*/ 544872 h 544872"/>
                <a:gd name="connsiteX8" fmla="*/ 190471 w 878349"/>
                <a:gd name="connsiteY8" fmla="*/ 544872 h 544872"/>
                <a:gd name="connsiteX9" fmla="*/ 166602 w 878349"/>
                <a:gd name="connsiteY9" fmla="*/ 544872 h 544872"/>
                <a:gd name="connsiteX10" fmla="*/ 158924 w 878349"/>
                <a:gd name="connsiteY10" fmla="*/ 541692 h 544872"/>
                <a:gd name="connsiteX11" fmla="*/ 152084 w 878349"/>
                <a:gd name="connsiteY11" fmla="*/ 541003 h 544872"/>
                <a:gd name="connsiteX12" fmla="*/ 0 w 878349"/>
                <a:gd name="connsiteY12" fmla="*/ 354401 h 544872"/>
                <a:gd name="connsiteX13" fmla="*/ 190471 w 878349"/>
                <a:gd name="connsiteY13" fmla="*/ 163930 h 544872"/>
                <a:gd name="connsiteX14" fmla="*/ 228858 w 878349"/>
                <a:gd name="connsiteY14" fmla="*/ 167800 h 544872"/>
                <a:gd name="connsiteX15" fmla="*/ 244320 w 878349"/>
                <a:gd name="connsiteY15" fmla="*/ 172600 h 544872"/>
                <a:gd name="connsiteX16" fmla="*/ 526204 w 878349"/>
                <a:gd name="connsiteY16" fmla="*/ 2045 h 544872"/>
                <a:gd name="connsiteX0" fmla="*/ 526204 w 878349"/>
                <a:gd name="connsiteY0" fmla="*/ 3099 h 545926"/>
                <a:gd name="connsiteX1" fmla="*/ 753041 w 878349"/>
                <a:gd name="connsiteY1" fmla="*/ 285676 h 545926"/>
                <a:gd name="connsiteX2" fmla="*/ 798544 w 878349"/>
                <a:gd name="connsiteY2" fmla="*/ 294863 h 545926"/>
                <a:gd name="connsiteX3" fmla="*/ 878349 w 878349"/>
                <a:gd name="connsiteY3" fmla="*/ 415260 h 545926"/>
                <a:gd name="connsiteX4" fmla="*/ 798544 w 878349"/>
                <a:gd name="connsiteY4" fmla="*/ 535658 h 545926"/>
                <a:gd name="connsiteX5" fmla="*/ 759827 w 878349"/>
                <a:gd name="connsiteY5" fmla="*/ 543474 h 545926"/>
                <a:gd name="connsiteX6" fmla="*/ 753908 w 878349"/>
                <a:gd name="connsiteY6" fmla="*/ 545926 h 545926"/>
                <a:gd name="connsiteX7" fmla="*/ 747683 w 878349"/>
                <a:gd name="connsiteY7" fmla="*/ 545926 h 545926"/>
                <a:gd name="connsiteX8" fmla="*/ 190471 w 878349"/>
                <a:gd name="connsiteY8" fmla="*/ 545926 h 545926"/>
                <a:gd name="connsiteX9" fmla="*/ 166602 w 878349"/>
                <a:gd name="connsiteY9" fmla="*/ 545926 h 545926"/>
                <a:gd name="connsiteX10" fmla="*/ 158924 w 878349"/>
                <a:gd name="connsiteY10" fmla="*/ 542746 h 545926"/>
                <a:gd name="connsiteX11" fmla="*/ 152084 w 878349"/>
                <a:gd name="connsiteY11" fmla="*/ 542057 h 545926"/>
                <a:gd name="connsiteX12" fmla="*/ 0 w 878349"/>
                <a:gd name="connsiteY12" fmla="*/ 355455 h 545926"/>
                <a:gd name="connsiteX13" fmla="*/ 190471 w 878349"/>
                <a:gd name="connsiteY13" fmla="*/ 164984 h 545926"/>
                <a:gd name="connsiteX14" fmla="*/ 228858 w 878349"/>
                <a:gd name="connsiteY14" fmla="*/ 168854 h 545926"/>
                <a:gd name="connsiteX15" fmla="*/ 244320 w 878349"/>
                <a:gd name="connsiteY15" fmla="*/ 173654 h 545926"/>
                <a:gd name="connsiteX16" fmla="*/ 526204 w 878349"/>
                <a:gd name="connsiteY16" fmla="*/ 3099 h 545926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798544 w 878349"/>
                <a:gd name="connsiteY2" fmla="*/ 294587 h 545650"/>
                <a:gd name="connsiteX3" fmla="*/ 878349 w 878349"/>
                <a:gd name="connsiteY3" fmla="*/ 414984 h 545650"/>
                <a:gd name="connsiteX4" fmla="*/ 798544 w 878349"/>
                <a:gd name="connsiteY4" fmla="*/ 535382 h 545650"/>
                <a:gd name="connsiteX5" fmla="*/ 759827 w 878349"/>
                <a:gd name="connsiteY5" fmla="*/ 543198 h 545650"/>
                <a:gd name="connsiteX6" fmla="*/ 753908 w 878349"/>
                <a:gd name="connsiteY6" fmla="*/ 545650 h 545650"/>
                <a:gd name="connsiteX7" fmla="*/ 747683 w 878349"/>
                <a:gd name="connsiteY7" fmla="*/ 545650 h 545650"/>
                <a:gd name="connsiteX8" fmla="*/ 190471 w 878349"/>
                <a:gd name="connsiteY8" fmla="*/ 545650 h 545650"/>
                <a:gd name="connsiteX9" fmla="*/ 166602 w 878349"/>
                <a:gd name="connsiteY9" fmla="*/ 545650 h 545650"/>
                <a:gd name="connsiteX10" fmla="*/ 158924 w 878349"/>
                <a:gd name="connsiteY10" fmla="*/ 542470 h 545650"/>
                <a:gd name="connsiteX11" fmla="*/ 152084 w 878349"/>
                <a:gd name="connsiteY11" fmla="*/ 541781 h 545650"/>
                <a:gd name="connsiteX12" fmla="*/ 0 w 878349"/>
                <a:gd name="connsiteY12" fmla="*/ 355179 h 545650"/>
                <a:gd name="connsiteX13" fmla="*/ 190471 w 878349"/>
                <a:gd name="connsiteY13" fmla="*/ 164708 h 545650"/>
                <a:gd name="connsiteX14" fmla="*/ 228858 w 878349"/>
                <a:gd name="connsiteY14" fmla="*/ 168578 h 545650"/>
                <a:gd name="connsiteX15" fmla="*/ 244320 w 878349"/>
                <a:gd name="connsiteY15" fmla="*/ 173378 h 545650"/>
                <a:gd name="connsiteX16" fmla="*/ 526204 w 878349"/>
                <a:gd name="connsiteY16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53908 w 878349"/>
                <a:gd name="connsiteY5" fmla="*/ 545650 h 545650"/>
                <a:gd name="connsiteX6" fmla="*/ 747683 w 878349"/>
                <a:gd name="connsiteY6" fmla="*/ 545650 h 545650"/>
                <a:gd name="connsiteX7" fmla="*/ 190471 w 878349"/>
                <a:gd name="connsiteY7" fmla="*/ 545650 h 545650"/>
                <a:gd name="connsiteX8" fmla="*/ 166602 w 878349"/>
                <a:gd name="connsiteY8" fmla="*/ 545650 h 545650"/>
                <a:gd name="connsiteX9" fmla="*/ 158924 w 878349"/>
                <a:gd name="connsiteY9" fmla="*/ 542470 h 545650"/>
                <a:gd name="connsiteX10" fmla="*/ 152084 w 878349"/>
                <a:gd name="connsiteY10" fmla="*/ 541781 h 545650"/>
                <a:gd name="connsiteX11" fmla="*/ 0 w 878349"/>
                <a:gd name="connsiteY11" fmla="*/ 355179 h 545650"/>
                <a:gd name="connsiteX12" fmla="*/ 190471 w 878349"/>
                <a:gd name="connsiteY12" fmla="*/ 164708 h 545650"/>
                <a:gd name="connsiteX13" fmla="*/ 228858 w 878349"/>
                <a:gd name="connsiteY13" fmla="*/ 168578 h 545650"/>
                <a:gd name="connsiteX14" fmla="*/ 244320 w 878349"/>
                <a:gd name="connsiteY14" fmla="*/ 173378 h 545650"/>
                <a:gd name="connsiteX15" fmla="*/ 526204 w 878349"/>
                <a:gd name="connsiteY15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47683 w 878349"/>
                <a:gd name="connsiteY5" fmla="*/ 545650 h 545650"/>
                <a:gd name="connsiteX6" fmla="*/ 190471 w 878349"/>
                <a:gd name="connsiteY6" fmla="*/ 545650 h 545650"/>
                <a:gd name="connsiteX7" fmla="*/ 166602 w 878349"/>
                <a:gd name="connsiteY7" fmla="*/ 545650 h 545650"/>
                <a:gd name="connsiteX8" fmla="*/ 158924 w 878349"/>
                <a:gd name="connsiteY8" fmla="*/ 542470 h 545650"/>
                <a:gd name="connsiteX9" fmla="*/ 152084 w 878349"/>
                <a:gd name="connsiteY9" fmla="*/ 541781 h 545650"/>
                <a:gd name="connsiteX10" fmla="*/ 0 w 878349"/>
                <a:gd name="connsiteY10" fmla="*/ 355179 h 545650"/>
                <a:gd name="connsiteX11" fmla="*/ 190471 w 878349"/>
                <a:gd name="connsiteY11" fmla="*/ 164708 h 545650"/>
                <a:gd name="connsiteX12" fmla="*/ 228858 w 878349"/>
                <a:gd name="connsiteY12" fmla="*/ 168578 h 545650"/>
                <a:gd name="connsiteX13" fmla="*/ 244320 w 878349"/>
                <a:gd name="connsiteY13" fmla="*/ 173378 h 545650"/>
                <a:gd name="connsiteX14" fmla="*/ 526204 w 878349"/>
                <a:gd name="connsiteY14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47683 w 878349"/>
                <a:gd name="connsiteY4" fmla="*/ 545650 h 545650"/>
                <a:gd name="connsiteX5" fmla="*/ 190471 w 878349"/>
                <a:gd name="connsiteY5" fmla="*/ 545650 h 545650"/>
                <a:gd name="connsiteX6" fmla="*/ 166602 w 878349"/>
                <a:gd name="connsiteY6" fmla="*/ 545650 h 545650"/>
                <a:gd name="connsiteX7" fmla="*/ 158924 w 878349"/>
                <a:gd name="connsiteY7" fmla="*/ 542470 h 545650"/>
                <a:gd name="connsiteX8" fmla="*/ 152084 w 878349"/>
                <a:gd name="connsiteY8" fmla="*/ 541781 h 545650"/>
                <a:gd name="connsiteX9" fmla="*/ 0 w 878349"/>
                <a:gd name="connsiteY9" fmla="*/ 355179 h 545650"/>
                <a:gd name="connsiteX10" fmla="*/ 190471 w 878349"/>
                <a:gd name="connsiteY10" fmla="*/ 164708 h 545650"/>
                <a:gd name="connsiteX11" fmla="*/ 228858 w 878349"/>
                <a:gd name="connsiteY11" fmla="*/ 168578 h 545650"/>
                <a:gd name="connsiteX12" fmla="*/ 244320 w 878349"/>
                <a:gd name="connsiteY12" fmla="*/ 173378 h 545650"/>
                <a:gd name="connsiteX13" fmla="*/ 526204 w 878349"/>
                <a:gd name="connsiteY13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60"/>
                <a:gd name="connsiteY0" fmla="*/ 2823 h 545650"/>
                <a:gd name="connsiteX1" fmla="*/ 753041 w 878360"/>
                <a:gd name="connsiteY1" fmla="*/ 285400 h 545650"/>
                <a:gd name="connsiteX2" fmla="*/ 878349 w 878360"/>
                <a:gd name="connsiteY2" fmla="*/ 414984 h 545650"/>
                <a:gd name="connsiteX3" fmla="*/ 747683 w 878360"/>
                <a:gd name="connsiteY3" fmla="*/ 545650 h 545650"/>
                <a:gd name="connsiteX4" fmla="*/ 190471 w 878360"/>
                <a:gd name="connsiteY4" fmla="*/ 545650 h 545650"/>
                <a:gd name="connsiteX5" fmla="*/ 166602 w 878360"/>
                <a:gd name="connsiteY5" fmla="*/ 545650 h 545650"/>
                <a:gd name="connsiteX6" fmla="*/ 158924 w 878360"/>
                <a:gd name="connsiteY6" fmla="*/ 542470 h 545650"/>
                <a:gd name="connsiteX7" fmla="*/ 152084 w 878360"/>
                <a:gd name="connsiteY7" fmla="*/ 541781 h 545650"/>
                <a:gd name="connsiteX8" fmla="*/ 0 w 878360"/>
                <a:gd name="connsiteY8" fmla="*/ 355179 h 545650"/>
                <a:gd name="connsiteX9" fmla="*/ 190471 w 878360"/>
                <a:gd name="connsiteY9" fmla="*/ 164708 h 545650"/>
                <a:gd name="connsiteX10" fmla="*/ 228858 w 878360"/>
                <a:gd name="connsiteY10" fmla="*/ 168578 h 545650"/>
                <a:gd name="connsiteX11" fmla="*/ 244320 w 878360"/>
                <a:gd name="connsiteY11" fmla="*/ 173378 h 545650"/>
                <a:gd name="connsiteX12" fmla="*/ 526204 w 878360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51"/>
                <a:gd name="connsiteY0" fmla="*/ 2823 h 545650"/>
                <a:gd name="connsiteX1" fmla="*/ 753041 w 878351"/>
                <a:gd name="connsiteY1" fmla="*/ 285400 h 545650"/>
                <a:gd name="connsiteX2" fmla="*/ 878349 w 878351"/>
                <a:gd name="connsiteY2" fmla="*/ 414984 h 545650"/>
                <a:gd name="connsiteX3" fmla="*/ 747683 w 878351"/>
                <a:gd name="connsiteY3" fmla="*/ 545650 h 545650"/>
                <a:gd name="connsiteX4" fmla="*/ 190471 w 878351"/>
                <a:gd name="connsiteY4" fmla="*/ 545650 h 545650"/>
                <a:gd name="connsiteX5" fmla="*/ 166602 w 878351"/>
                <a:gd name="connsiteY5" fmla="*/ 545650 h 545650"/>
                <a:gd name="connsiteX6" fmla="*/ 158924 w 878351"/>
                <a:gd name="connsiteY6" fmla="*/ 542470 h 545650"/>
                <a:gd name="connsiteX7" fmla="*/ 152084 w 878351"/>
                <a:gd name="connsiteY7" fmla="*/ 541781 h 545650"/>
                <a:gd name="connsiteX8" fmla="*/ 0 w 878351"/>
                <a:gd name="connsiteY8" fmla="*/ 355179 h 545650"/>
                <a:gd name="connsiteX9" fmla="*/ 190471 w 878351"/>
                <a:gd name="connsiteY9" fmla="*/ 164708 h 545650"/>
                <a:gd name="connsiteX10" fmla="*/ 228858 w 878351"/>
                <a:gd name="connsiteY10" fmla="*/ 168578 h 545650"/>
                <a:gd name="connsiteX11" fmla="*/ 244320 w 878351"/>
                <a:gd name="connsiteY11" fmla="*/ 173378 h 545650"/>
                <a:gd name="connsiteX12" fmla="*/ 526204 w 878351"/>
                <a:gd name="connsiteY12" fmla="*/ 2823 h 545650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7585 w 879730"/>
                <a:gd name="connsiteY0" fmla="*/ 2823 h 545651"/>
                <a:gd name="connsiteX1" fmla="*/ 754422 w 879730"/>
                <a:gd name="connsiteY1" fmla="*/ 285400 h 545651"/>
                <a:gd name="connsiteX2" fmla="*/ 879730 w 879730"/>
                <a:gd name="connsiteY2" fmla="*/ 414984 h 545651"/>
                <a:gd name="connsiteX3" fmla="*/ 749064 w 879730"/>
                <a:gd name="connsiteY3" fmla="*/ 545650 h 545651"/>
                <a:gd name="connsiteX4" fmla="*/ 191852 w 879730"/>
                <a:gd name="connsiteY4" fmla="*/ 545650 h 545651"/>
                <a:gd name="connsiteX5" fmla="*/ 167983 w 879730"/>
                <a:gd name="connsiteY5" fmla="*/ 545650 h 545651"/>
                <a:gd name="connsiteX6" fmla="*/ 160305 w 879730"/>
                <a:gd name="connsiteY6" fmla="*/ 542470 h 545651"/>
                <a:gd name="connsiteX7" fmla="*/ 153465 w 879730"/>
                <a:gd name="connsiteY7" fmla="*/ 541781 h 545651"/>
                <a:gd name="connsiteX8" fmla="*/ 1381 w 879730"/>
                <a:gd name="connsiteY8" fmla="*/ 355179 h 545651"/>
                <a:gd name="connsiteX9" fmla="*/ 230239 w 879730"/>
                <a:gd name="connsiteY9" fmla="*/ 168578 h 545651"/>
                <a:gd name="connsiteX10" fmla="*/ 245701 w 879730"/>
                <a:gd name="connsiteY10" fmla="*/ 173378 h 545651"/>
                <a:gd name="connsiteX11" fmla="*/ 527585 w 879730"/>
                <a:gd name="connsiteY11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6208 w 878353"/>
                <a:gd name="connsiteY0" fmla="*/ 2823 h 545651"/>
                <a:gd name="connsiteX1" fmla="*/ 753045 w 878353"/>
                <a:gd name="connsiteY1" fmla="*/ 285400 h 545651"/>
                <a:gd name="connsiteX2" fmla="*/ 878353 w 878353"/>
                <a:gd name="connsiteY2" fmla="*/ 414984 h 545651"/>
                <a:gd name="connsiteX3" fmla="*/ 747687 w 878353"/>
                <a:gd name="connsiteY3" fmla="*/ 545650 h 545651"/>
                <a:gd name="connsiteX4" fmla="*/ 190475 w 878353"/>
                <a:gd name="connsiteY4" fmla="*/ 545650 h 545651"/>
                <a:gd name="connsiteX5" fmla="*/ 166606 w 878353"/>
                <a:gd name="connsiteY5" fmla="*/ 545650 h 545651"/>
                <a:gd name="connsiteX6" fmla="*/ 158928 w 878353"/>
                <a:gd name="connsiteY6" fmla="*/ 542470 h 545651"/>
                <a:gd name="connsiteX7" fmla="*/ 152088 w 878353"/>
                <a:gd name="connsiteY7" fmla="*/ 541781 h 545651"/>
                <a:gd name="connsiteX8" fmla="*/ 4 w 878353"/>
                <a:gd name="connsiteY8" fmla="*/ 355179 h 545651"/>
                <a:gd name="connsiteX9" fmla="*/ 244324 w 878353"/>
                <a:gd name="connsiteY9" fmla="*/ 173378 h 545651"/>
                <a:gd name="connsiteX10" fmla="*/ 526208 w 878353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66614 w 878361"/>
                <a:gd name="connsiteY5" fmla="*/ 545650 h 545651"/>
                <a:gd name="connsiteX6" fmla="*/ 158936 w 878361"/>
                <a:gd name="connsiteY6" fmla="*/ 542470 h 545651"/>
                <a:gd name="connsiteX7" fmla="*/ 152096 w 878361"/>
                <a:gd name="connsiteY7" fmla="*/ 541781 h 545651"/>
                <a:gd name="connsiteX8" fmla="*/ 12 w 878361"/>
                <a:gd name="connsiteY8" fmla="*/ 355179 h 545651"/>
                <a:gd name="connsiteX9" fmla="*/ 244332 w 878361"/>
                <a:gd name="connsiteY9" fmla="*/ 173378 h 545651"/>
                <a:gd name="connsiteX10" fmla="*/ 526216 w 878361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8936 w 878361"/>
                <a:gd name="connsiteY5" fmla="*/ 542470 h 545651"/>
                <a:gd name="connsiteX6" fmla="*/ 152096 w 878361"/>
                <a:gd name="connsiteY6" fmla="*/ 541781 h 545651"/>
                <a:gd name="connsiteX7" fmla="*/ 12 w 878361"/>
                <a:gd name="connsiteY7" fmla="*/ 355179 h 545651"/>
                <a:gd name="connsiteX8" fmla="*/ 244332 w 878361"/>
                <a:gd name="connsiteY8" fmla="*/ 173378 h 545651"/>
                <a:gd name="connsiteX9" fmla="*/ 526216 w 878361"/>
                <a:gd name="connsiteY9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2096 w 878361"/>
                <a:gd name="connsiteY5" fmla="*/ 541781 h 545651"/>
                <a:gd name="connsiteX6" fmla="*/ 12 w 878361"/>
                <a:gd name="connsiteY6" fmla="*/ 355179 h 545651"/>
                <a:gd name="connsiteX7" fmla="*/ 244332 w 878361"/>
                <a:gd name="connsiteY7" fmla="*/ 173378 h 545651"/>
                <a:gd name="connsiteX8" fmla="*/ 526216 w 878361"/>
                <a:gd name="connsiteY8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2 w 878361"/>
                <a:gd name="connsiteY5" fmla="*/ 355179 h 545651"/>
                <a:gd name="connsiteX6" fmla="*/ 244332 w 878361"/>
                <a:gd name="connsiteY6" fmla="*/ 173378 h 545651"/>
                <a:gd name="connsiteX7" fmla="*/ 526216 w 878361"/>
                <a:gd name="connsiteY7" fmla="*/ 2823 h 545651"/>
                <a:gd name="connsiteX0" fmla="*/ 528231 w 880376"/>
                <a:gd name="connsiteY0" fmla="*/ 2823 h 545651"/>
                <a:gd name="connsiteX1" fmla="*/ 755068 w 880376"/>
                <a:gd name="connsiteY1" fmla="*/ 285400 h 545651"/>
                <a:gd name="connsiteX2" fmla="*/ 880376 w 880376"/>
                <a:gd name="connsiteY2" fmla="*/ 414984 h 545651"/>
                <a:gd name="connsiteX3" fmla="*/ 749710 w 880376"/>
                <a:gd name="connsiteY3" fmla="*/ 545650 h 545651"/>
                <a:gd name="connsiteX4" fmla="*/ 192498 w 880376"/>
                <a:gd name="connsiteY4" fmla="*/ 545650 h 545651"/>
                <a:gd name="connsiteX5" fmla="*/ 2027 w 880376"/>
                <a:gd name="connsiteY5" fmla="*/ 355179 h 545651"/>
                <a:gd name="connsiteX6" fmla="*/ 246347 w 880376"/>
                <a:gd name="connsiteY6" fmla="*/ 173378 h 545651"/>
                <a:gd name="connsiteX7" fmla="*/ 528231 w 880376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245 w 878390"/>
                <a:gd name="connsiteY0" fmla="*/ 2823 h 545651"/>
                <a:gd name="connsiteX1" fmla="*/ 753082 w 878390"/>
                <a:gd name="connsiteY1" fmla="*/ 285400 h 545651"/>
                <a:gd name="connsiteX2" fmla="*/ 878390 w 878390"/>
                <a:gd name="connsiteY2" fmla="*/ 414984 h 545651"/>
                <a:gd name="connsiteX3" fmla="*/ 747724 w 878390"/>
                <a:gd name="connsiteY3" fmla="*/ 545650 h 545651"/>
                <a:gd name="connsiteX4" fmla="*/ 190512 w 878390"/>
                <a:gd name="connsiteY4" fmla="*/ 545650 h 545651"/>
                <a:gd name="connsiteX5" fmla="*/ 41 w 878390"/>
                <a:gd name="connsiteY5" fmla="*/ 355179 h 545651"/>
                <a:gd name="connsiteX6" fmla="*/ 244361 w 878390"/>
                <a:gd name="connsiteY6" fmla="*/ 173378 h 545651"/>
                <a:gd name="connsiteX7" fmla="*/ 526245 w 878390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721 w 878866"/>
                <a:gd name="connsiteY0" fmla="*/ 2823 h 545651"/>
                <a:gd name="connsiteX1" fmla="*/ 753558 w 878866"/>
                <a:gd name="connsiteY1" fmla="*/ 285400 h 545651"/>
                <a:gd name="connsiteX2" fmla="*/ 878866 w 878866"/>
                <a:gd name="connsiteY2" fmla="*/ 414984 h 545651"/>
                <a:gd name="connsiteX3" fmla="*/ 748200 w 878866"/>
                <a:gd name="connsiteY3" fmla="*/ 545650 h 545651"/>
                <a:gd name="connsiteX4" fmla="*/ 190988 w 878866"/>
                <a:gd name="connsiteY4" fmla="*/ 545650 h 545651"/>
                <a:gd name="connsiteX5" fmla="*/ 517 w 878866"/>
                <a:gd name="connsiteY5" fmla="*/ 355179 h 545651"/>
                <a:gd name="connsiteX6" fmla="*/ 244837 w 878866"/>
                <a:gd name="connsiteY6" fmla="*/ 173378 h 545651"/>
                <a:gd name="connsiteX7" fmla="*/ 526721 w 878866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8391" h="545651">
                  <a:moveTo>
                    <a:pt x="526246" y="2823"/>
                  </a:moveTo>
                  <a:cubicBezTo>
                    <a:pt x="663881" y="24023"/>
                    <a:pt x="772336" y="152517"/>
                    <a:pt x="753083" y="285400"/>
                  </a:cubicBezTo>
                  <a:cubicBezTo>
                    <a:pt x="852208" y="299089"/>
                    <a:pt x="878212" y="375742"/>
                    <a:pt x="878391" y="414984"/>
                  </a:cubicBezTo>
                  <a:cubicBezTo>
                    <a:pt x="878627" y="466609"/>
                    <a:pt x="833938" y="546043"/>
                    <a:pt x="747725" y="545650"/>
                  </a:cubicBezTo>
                  <a:lnTo>
                    <a:pt x="190513" y="545650"/>
                  </a:lnTo>
                  <a:cubicBezTo>
                    <a:pt x="77130" y="544985"/>
                    <a:pt x="2268" y="445667"/>
                    <a:pt x="42" y="355179"/>
                  </a:cubicBezTo>
                  <a:cubicBezTo>
                    <a:pt x="-2184" y="264691"/>
                    <a:pt x="84465" y="123521"/>
                    <a:pt x="244362" y="173378"/>
                  </a:cubicBezTo>
                  <a:cubicBezTo>
                    <a:pt x="271526" y="75658"/>
                    <a:pt x="394045" y="-17540"/>
                    <a:pt x="526246" y="2823"/>
                  </a:cubicBezTo>
                  <a:close/>
                </a:path>
              </a:pathLst>
            </a:custGeom>
            <a:noFill/>
            <a:ln w="12700">
              <a:solidFill>
                <a:schemeClr val="tx2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33" tIns="143387" rIns="179233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75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1960" b="1">
                <a:solidFill>
                  <a:srgbClr val="FFFFFF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CE8EA262-DE05-46E8-9BFD-764648F84EB8}"/>
                </a:ext>
              </a:extLst>
            </p:cNvPr>
            <p:cNvSpPr/>
            <p:nvPr/>
          </p:nvSpPr>
          <p:spPr bwMode="auto">
            <a:xfrm>
              <a:off x="11138157" y="3021086"/>
              <a:ext cx="205040" cy="148466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77" name="Straight Arrow Connector 76">
              <a:extLst>
                <a:ext uri="{FF2B5EF4-FFF2-40B4-BE49-F238E27FC236}">
                  <a16:creationId xmlns:a16="http://schemas.microsoft.com/office/drawing/2014/main" id="{040C2254-0D34-487C-A2E2-A5129AEEFA3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245742" y="2947705"/>
              <a:ext cx="0" cy="316340"/>
            </a:xfrm>
            <a:prstGeom prst="straightConnector1">
              <a:avLst/>
            </a:prstGeom>
            <a:ln w="12700">
              <a:solidFill>
                <a:schemeClr val="tx2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8" name="TextBox 77">
            <a:extLst>
              <a:ext uri="{FF2B5EF4-FFF2-40B4-BE49-F238E27FC236}">
                <a16:creationId xmlns:a16="http://schemas.microsoft.com/office/drawing/2014/main" id="{657F0040-B427-4D8D-A460-6C40B007E598}"/>
              </a:ext>
            </a:extLst>
          </p:cNvPr>
          <p:cNvSpPr txBox="1"/>
          <p:nvPr/>
        </p:nvSpPr>
        <p:spPr>
          <a:xfrm>
            <a:off x="3372709" y="3002460"/>
            <a:ext cx="2053598" cy="365760"/>
          </a:xfrm>
          <a:prstGeom prst="rect">
            <a:avLst/>
          </a:prstGeom>
          <a:noFill/>
        </p:spPr>
        <p:txBody>
          <a:bodyPr wrap="square" lIns="182880" tIns="91440" rIns="91440" bIns="91440" rtlCol="0">
            <a:noAutofit/>
          </a:bodyPr>
          <a:lstStyle/>
          <a:p>
            <a:pPr>
              <a:lnSpc>
                <a:spcPct val="90000"/>
              </a:lnSpc>
              <a:spcAft>
                <a:spcPts val="988"/>
              </a:spcAft>
              <a:buSzPct val="90000"/>
              <a:defRPr sz="2000" dirty="0" err="1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defRPr>
            </a:pPr>
            <a:r>
              <a:rPr lang="en-US" sz="1600">
                <a:gradFill>
                  <a:gsLst>
                    <a:gs pos="40075">
                      <a:schemeClr val="accent2">
                        <a:lumMod val="50000"/>
                      </a:schemeClr>
                    </a:gs>
                    <a:gs pos="30000">
                      <a:schemeClr val="accent2">
                        <a:lumMod val="50000"/>
                      </a:schemeClr>
                    </a:gs>
                  </a:gsLst>
                  <a:lin ang="5400000" scaled="0"/>
                </a:gradFill>
              </a:rPr>
              <a:t>Models</a:t>
            </a: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05E30825-0E8F-4B31-BA9B-CD0D4AC1C55C}"/>
              </a:ext>
            </a:extLst>
          </p:cNvPr>
          <p:cNvGrpSpPr>
            <a:grpSpLocks noChangeAspect="1"/>
          </p:cNvGrpSpPr>
          <p:nvPr/>
        </p:nvGrpSpPr>
        <p:grpSpPr>
          <a:xfrm rot="1800000">
            <a:off x="2826954" y="2986891"/>
            <a:ext cx="394508" cy="457200"/>
            <a:chOff x="6281977" y="1925712"/>
            <a:chExt cx="609366" cy="706203"/>
          </a:xfrm>
        </p:grpSpPr>
        <p:sp>
          <p:nvSpPr>
            <p:cNvPr id="105" name="Hexagon 104">
              <a:extLst>
                <a:ext uri="{FF2B5EF4-FFF2-40B4-BE49-F238E27FC236}">
                  <a16:creationId xmlns:a16="http://schemas.microsoft.com/office/drawing/2014/main" id="{4407B4F5-B895-4BDC-8732-38C23AAD7070}"/>
                </a:ext>
              </a:extLst>
            </p:cNvPr>
            <p:cNvSpPr/>
            <p:nvPr/>
          </p:nvSpPr>
          <p:spPr bwMode="auto">
            <a:xfrm rot="16200000">
              <a:off x="6261742" y="2000529"/>
              <a:ext cx="651443" cy="557784"/>
            </a:xfrm>
            <a:prstGeom prst="hexagon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5D2DAE09-5364-4721-9D4D-F2F0ED17D0E9}"/>
                </a:ext>
              </a:extLst>
            </p:cNvPr>
            <p:cNvCxnSpPr>
              <a:stCxn id="105" idx="3"/>
              <a:endCxn id="105" idx="0"/>
            </p:cNvCxnSpPr>
            <p:nvPr/>
          </p:nvCxnSpPr>
          <p:spPr>
            <a:xfrm flipV="1">
              <a:off x="6587464" y="1953700"/>
              <a:ext cx="0" cy="651443"/>
            </a:xfrm>
            <a:prstGeom prst="line">
              <a:avLst/>
            </a:prstGeom>
            <a:ln w="12700">
              <a:solidFill>
                <a:schemeClr val="tx2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E18DFE56-51D7-4A85-9C78-7938A19130B3}"/>
                </a:ext>
              </a:extLst>
            </p:cNvPr>
            <p:cNvGrpSpPr/>
            <p:nvPr/>
          </p:nvGrpSpPr>
          <p:grpSpPr>
            <a:xfrm>
              <a:off x="6584950" y="2093649"/>
              <a:ext cx="281406" cy="372551"/>
              <a:chOff x="6584950" y="2093146"/>
              <a:chExt cx="281406" cy="372551"/>
            </a:xfrm>
          </p:grpSpPr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D64ECA6C-DD94-4856-8EB8-74665D9D1176}"/>
                  </a:ext>
                </a:extLst>
              </p:cNvPr>
              <p:cNvCxnSpPr>
                <a:cxnSpLocks/>
                <a:stCxn id="105" idx="2"/>
              </p:cNvCxnSpPr>
              <p:nvPr/>
            </p:nvCxnSpPr>
            <p:spPr>
              <a:xfrm flipH="1" flipV="1">
                <a:off x="6584950" y="2415525"/>
                <a:ext cx="281406" cy="50172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FE8B6DBE-E7D5-4D12-B527-FB1EE905278D}"/>
                  </a:ext>
                </a:extLst>
              </p:cNvPr>
              <p:cNvCxnSpPr>
                <a:stCxn id="105" idx="1"/>
              </p:cNvCxnSpPr>
              <p:nvPr/>
            </p:nvCxnSpPr>
            <p:spPr>
              <a:xfrm flipH="1">
                <a:off x="6584950" y="2093146"/>
                <a:ext cx="281406" cy="110304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49BAD500-F8F2-42A8-B3B8-21CC0B210B8A}"/>
                  </a:ext>
                </a:extLst>
              </p:cNvPr>
              <p:cNvCxnSpPr>
                <a:cxnSpLocks/>
                <a:stCxn id="105" idx="1"/>
              </p:cNvCxnSpPr>
              <p:nvPr/>
            </p:nvCxnSpPr>
            <p:spPr>
              <a:xfrm flipH="1">
                <a:off x="6584950" y="2093146"/>
                <a:ext cx="281406" cy="322378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215F60D7-D6F5-41D4-8257-209F91EAE5B0}"/>
                </a:ext>
              </a:extLst>
            </p:cNvPr>
            <p:cNvGrpSpPr/>
            <p:nvPr/>
          </p:nvGrpSpPr>
          <p:grpSpPr>
            <a:xfrm flipH="1">
              <a:off x="6304801" y="2093649"/>
              <a:ext cx="281406" cy="372551"/>
              <a:chOff x="6584950" y="2093146"/>
              <a:chExt cx="281406" cy="372551"/>
            </a:xfrm>
          </p:grpSpPr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2B713B8E-944F-4E8C-B4FA-003F7ACE6E8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584950" y="2415525"/>
                <a:ext cx="281406" cy="50172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9CE33B95-6B50-4D85-9ECC-EE3A5AC1ECDA}"/>
                  </a:ext>
                </a:extLst>
              </p:cNvPr>
              <p:cNvCxnSpPr/>
              <p:nvPr/>
            </p:nvCxnSpPr>
            <p:spPr>
              <a:xfrm flipH="1">
                <a:off x="6584950" y="2093146"/>
                <a:ext cx="281406" cy="110304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28882476-01D2-4398-A716-BE5674C58E3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584950" y="2093146"/>
                <a:ext cx="281406" cy="322378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0ED6D594-CAF7-4D01-B097-E10D09424407}"/>
                </a:ext>
              </a:extLst>
            </p:cNvPr>
            <p:cNvSpPr/>
            <p:nvPr/>
          </p:nvSpPr>
          <p:spPr bwMode="auto">
            <a:xfrm>
              <a:off x="6281977" y="2066999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CB943D3E-F75A-40D1-BDFC-8E7600FE345A}"/>
                </a:ext>
              </a:extLst>
            </p:cNvPr>
            <p:cNvSpPr/>
            <p:nvPr/>
          </p:nvSpPr>
          <p:spPr bwMode="auto">
            <a:xfrm>
              <a:off x="6558202" y="2173362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1" name="Oval 110">
              <a:extLst>
                <a:ext uri="{FF2B5EF4-FFF2-40B4-BE49-F238E27FC236}">
                  <a16:creationId xmlns:a16="http://schemas.microsoft.com/office/drawing/2014/main" id="{CF0CCAAE-3982-4108-B1C9-299C9C4247CE}"/>
                </a:ext>
              </a:extLst>
            </p:cNvPr>
            <p:cNvSpPr/>
            <p:nvPr/>
          </p:nvSpPr>
          <p:spPr bwMode="auto">
            <a:xfrm>
              <a:off x="6831252" y="2066999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CFC2E1A8-B6ED-4ACB-BB32-6030FB15E45B}"/>
                </a:ext>
              </a:extLst>
            </p:cNvPr>
            <p:cNvSpPr/>
            <p:nvPr/>
          </p:nvSpPr>
          <p:spPr bwMode="auto">
            <a:xfrm>
              <a:off x="6558202" y="2387674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3" name="Oval 112">
              <a:extLst>
                <a:ext uri="{FF2B5EF4-FFF2-40B4-BE49-F238E27FC236}">
                  <a16:creationId xmlns:a16="http://schemas.microsoft.com/office/drawing/2014/main" id="{F3DEB68B-17A5-49A7-8C73-1EEE69BD15F9}"/>
                </a:ext>
              </a:extLst>
            </p:cNvPr>
            <p:cNvSpPr/>
            <p:nvPr/>
          </p:nvSpPr>
          <p:spPr bwMode="auto">
            <a:xfrm>
              <a:off x="6834427" y="2438474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E72A5333-C4F6-409B-B619-6ED8692A698D}"/>
                </a:ext>
              </a:extLst>
            </p:cNvPr>
            <p:cNvSpPr/>
            <p:nvPr/>
          </p:nvSpPr>
          <p:spPr bwMode="auto">
            <a:xfrm>
              <a:off x="6558202" y="2574999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20BADA11-CEC8-43F7-8FF9-8210B25CDC47}"/>
                </a:ext>
              </a:extLst>
            </p:cNvPr>
            <p:cNvSpPr/>
            <p:nvPr/>
          </p:nvSpPr>
          <p:spPr bwMode="auto">
            <a:xfrm>
              <a:off x="6291502" y="2438474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B3C30D88-D4B8-40E9-ACF1-93E117DA15DF}"/>
                </a:ext>
              </a:extLst>
            </p:cNvPr>
            <p:cNvSpPr/>
            <p:nvPr/>
          </p:nvSpPr>
          <p:spPr bwMode="auto">
            <a:xfrm>
              <a:off x="6558202" y="1925712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23" name="Freeform: Shape 830">
            <a:extLst>
              <a:ext uri="{FF2B5EF4-FFF2-40B4-BE49-F238E27FC236}">
                <a16:creationId xmlns:a16="http://schemas.microsoft.com/office/drawing/2014/main" id="{A0BBD2E3-45C8-4944-9C4D-26E6AFB180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1691" y="3921171"/>
            <a:ext cx="415486" cy="485872"/>
          </a:xfrm>
          <a:custGeom>
            <a:avLst/>
            <a:gdLst>
              <a:gd name="connsiteX0" fmla="*/ 1913 w 3330348"/>
              <a:gd name="connsiteY0" fmla="*/ 3068274 h 4532979"/>
              <a:gd name="connsiteX1" fmla="*/ 33829 w 3330348"/>
              <a:gd name="connsiteY1" fmla="*/ 3129345 h 4532979"/>
              <a:gd name="connsiteX2" fmla="*/ 1665174 w 3330348"/>
              <a:gd name="connsiteY2" fmla="*/ 3385824 h 4532979"/>
              <a:gd name="connsiteX3" fmla="*/ 3296519 w 3330348"/>
              <a:gd name="connsiteY3" fmla="*/ 3129345 h 4532979"/>
              <a:gd name="connsiteX4" fmla="*/ 3328434 w 3330348"/>
              <a:gd name="connsiteY4" fmla="*/ 3068274 h 4532979"/>
              <a:gd name="connsiteX5" fmla="*/ 3330348 w 3330348"/>
              <a:gd name="connsiteY5" fmla="*/ 4211766 h 4532979"/>
              <a:gd name="connsiteX6" fmla="*/ 1665174 w 3330348"/>
              <a:gd name="connsiteY6" fmla="*/ 4532979 h 4532979"/>
              <a:gd name="connsiteX7" fmla="*/ 0 w 3330348"/>
              <a:gd name="connsiteY7" fmla="*/ 4211766 h 4532979"/>
              <a:gd name="connsiteX8" fmla="*/ 1913 w 3330348"/>
              <a:gd name="connsiteY8" fmla="*/ 3068274 h 4532979"/>
              <a:gd name="connsiteX9" fmla="*/ 1913 w 3330348"/>
              <a:gd name="connsiteY9" fmla="*/ 1762531 h 4532979"/>
              <a:gd name="connsiteX10" fmla="*/ 33829 w 3330348"/>
              <a:gd name="connsiteY10" fmla="*/ 1823602 h 4532979"/>
              <a:gd name="connsiteX11" fmla="*/ 1665174 w 3330348"/>
              <a:gd name="connsiteY11" fmla="*/ 2080081 h 4532979"/>
              <a:gd name="connsiteX12" fmla="*/ 3296519 w 3330348"/>
              <a:gd name="connsiteY12" fmla="*/ 1823602 h 4532979"/>
              <a:gd name="connsiteX13" fmla="*/ 3328434 w 3330348"/>
              <a:gd name="connsiteY13" fmla="*/ 1762531 h 4532979"/>
              <a:gd name="connsiteX14" fmla="*/ 3330348 w 3330348"/>
              <a:gd name="connsiteY14" fmla="*/ 2906023 h 4532979"/>
              <a:gd name="connsiteX15" fmla="*/ 1665174 w 3330348"/>
              <a:gd name="connsiteY15" fmla="*/ 3227236 h 4532979"/>
              <a:gd name="connsiteX16" fmla="*/ 0 w 3330348"/>
              <a:gd name="connsiteY16" fmla="*/ 2906023 h 4532979"/>
              <a:gd name="connsiteX17" fmla="*/ 1913 w 3330348"/>
              <a:gd name="connsiteY17" fmla="*/ 1762531 h 4532979"/>
              <a:gd name="connsiteX18" fmla="*/ 1913 w 3330348"/>
              <a:gd name="connsiteY18" fmla="*/ 456788 h 4532979"/>
              <a:gd name="connsiteX19" fmla="*/ 33829 w 3330348"/>
              <a:gd name="connsiteY19" fmla="*/ 517859 h 4532979"/>
              <a:gd name="connsiteX20" fmla="*/ 1665174 w 3330348"/>
              <a:gd name="connsiteY20" fmla="*/ 774338 h 4532979"/>
              <a:gd name="connsiteX21" fmla="*/ 3296519 w 3330348"/>
              <a:gd name="connsiteY21" fmla="*/ 517859 h 4532979"/>
              <a:gd name="connsiteX22" fmla="*/ 3328434 w 3330348"/>
              <a:gd name="connsiteY22" fmla="*/ 456788 h 4532979"/>
              <a:gd name="connsiteX23" fmla="*/ 3330348 w 3330348"/>
              <a:gd name="connsiteY23" fmla="*/ 1600280 h 4532979"/>
              <a:gd name="connsiteX24" fmla="*/ 1665174 w 3330348"/>
              <a:gd name="connsiteY24" fmla="*/ 1921493 h 4532979"/>
              <a:gd name="connsiteX25" fmla="*/ 0 w 3330348"/>
              <a:gd name="connsiteY25" fmla="*/ 1600280 h 4532979"/>
              <a:gd name="connsiteX26" fmla="*/ 1913 w 3330348"/>
              <a:gd name="connsiteY26" fmla="*/ 456788 h 4532979"/>
              <a:gd name="connsiteX27" fmla="*/ 1665174 w 3330348"/>
              <a:gd name="connsiteY27" fmla="*/ 0 h 4532979"/>
              <a:gd name="connsiteX28" fmla="*/ 3267703 w 3330348"/>
              <a:gd name="connsiteY28" fmla="*/ 309127 h 4532979"/>
              <a:gd name="connsiteX29" fmla="*/ 1665174 w 3330348"/>
              <a:gd name="connsiteY29" fmla="*/ 618254 h 4532979"/>
              <a:gd name="connsiteX30" fmla="*/ 62645 w 3330348"/>
              <a:gd name="connsiteY30" fmla="*/ 309127 h 4532979"/>
              <a:gd name="connsiteX31" fmla="*/ 1665174 w 3330348"/>
              <a:gd name="connsiteY31" fmla="*/ 0 h 4532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330348" h="4532979">
                <a:moveTo>
                  <a:pt x="1913" y="3068274"/>
                </a:moveTo>
                <a:cubicBezTo>
                  <a:pt x="12552" y="3088631"/>
                  <a:pt x="12431" y="3109172"/>
                  <a:pt x="33829" y="3129345"/>
                </a:cubicBezTo>
                <a:cubicBezTo>
                  <a:pt x="189101" y="3275719"/>
                  <a:pt x="860482" y="3385824"/>
                  <a:pt x="1665174" y="3385824"/>
                </a:cubicBezTo>
                <a:cubicBezTo>
                  <a:pt x="2469867" y="3385824"/>
                  <a:pt x="3141247" y="3275719"/>
                  <a:pt x="3296519" y="3129345"/>
                </a:cubicBezTo>
                <a:cubicBezTo>
                  <a:pt x="3312446" y="3112160"/>
                  <a:pt x="3317796" y="3088631"/>
                  <a:pt x="3328434" y="3068274"/>
                </a:cubicBezTo>
                <a:cubicBezTo>
                  <a:pt x="3329074" y="3449438"/>
                  <a:pt x="3329709" y="3830602"/>
                  <a:pt x="3330348" y="4211766"/>
                </a:cubicBezTo>
                <a:cubicBezTo>
                  <a:pt x="3330348" y="4389168"/>
                  <a:pt x="2584823" y="4532979"/>
                  <a:pt x="1665174" y="4532979"/>
                </a:cubicBezTo>
                <a:cubicBezTo>
                  <a:pt x="745525" y="4532979"/>
                  <a:pt x="0" y="4389168"/>
                  <a:pt x="0" y="4211766"/>
                </a:cubicBezTo>
                <a:cubicBezTo>
                  <a:pt x="639" y="3830602"/>
                  <a:pt x="1274" y="3449438"/>
                  <a:pt x="1913" y="3068274"/>
                </a:cubicBezTo>
                <a:close/>
                <a:moveTo>
                  <a:pt x="1913" y="1762531"/>
                </a:moveTo>
                <a:cubicBezTo>
                  <a:pt x="12552" y="1782888"/>
                  <a:pt x="12431" y="1803429"/>
                  <a:pt x="33829" y="1823602"/>
                </a:cubicBezTo>
                <a:cubicBezTo>
                  <a:pt x="189101" y="1969976"/>
                  <a:pt x="860482" y="2080081"/>
                  <a:pt x="1665174" y="2080081"/>
                </a:cubicBezTo>
                <a:cubicBezTo>
                  <a:pt x="2469867" y="2080081"/>
                  <a:pt x="3141247" y="1969976"/>
                  <a:pt x="3296519" y="1823602"/>
                </a:cubicBezTo>
                <a:cubicBezTo>
                  <a:pt x="3312446" y="1806417"/>
                  <a:pt x="3317796" y="1782888"/>
                  <a:pt x="3328434" y="1762531"/>
                </a:cubicBezTo>
                <a:cubicBezTo>
                  <a:pt x="3329074" y="2143695"/>
                  <a:pt x="3329709" y="2524859"/>
                  <a:pt x="3330348" y="2906023"/>
                </a:cubicBezTo>
                <a:cubicBezTo>
                  <a:pt x="3330348" y="3083425"/>
                  <a:pt x="2584823" y="3227236"/>
                  <a:pt x="1665174" y="3227236"/>
                </a:cubicBezTo>
                <a:cubicBezTo>
                  <a:pt x="745525" y="3227236"/>
                  <a:pt x="0" y="3083425"/>
                  <a:pt x="0" y="2906023"/>
                </a:cubicBezTo>
                <a:cubicBezTo>
                  <a:pt x="639" y="2524859"/>
                  <a:pt x="1274" y="2143695"/>
                  <a:pt x="1913" y="1762531"/>
                </a:cubicBezTo>
                <a:close/>
                <a:moveTo>
                  <a:pt x="1913" y="456788"/>
                </a:moveTo>
                <a:cubicBezTo>
                  <a:pt x="12552" y="477145"/>
                  <a:pt x="12431" y="497686"/>
                  <a:pt x="33829" y="517859"/>
                </a:cubicBezTo>
                <a:cubicBezTo>
                  <a:pt x="189101" y="664233"/>
                  <a:pt x="860482" y="774338"/>
                  <a:pt x="1665174" y="774338"/>
                </a:cubicBezTo>
                <a:cubicBezTo>
                  <a:pt x="2469867" y="774338"/>
                  <a:pt x="3141247" y="664233"/>
                  <a:pt x="3296519" y="517859"/>
                </a:cubicBezTo>
                <a:cubicBezTo>
                  <a:pt x="3312446" y="500674"/>
                  <a:pt x="3317796" y="477145"/>
                  <a:pt x="3328434" y="456788"/>
                </a:cubicBezTo>
                <a:cubicBezTo>
                  <a:pt x="3329074" y="837952"/>
                  <a:pt x="3329709" y="1219116"/>
                  <a:pt x="3330348" y="1600280"/>
                </a:cubicBezTo>
                <a:cubicBezTo>
                  <a:pt x="3330348" y="1777682"/>
                  <a:pt x="2584823" y="1921493"/>
                  <a:pt x="1665174" y="1921493"/>
                </a:cubicBezTo>
                <a:cubicBezTo>
                  <a:pt x="745525" y="1921493"/>
                  <a:pt x="0" y="1777682"/>
                  <a:pt x="0" y="1600280"/>
                </a:cubicBezTo>
                <a:cubicBezTo>
                  <a:pt x="639" y="1219116"/>
                  <a:pt x="1274" y="837952"/>
                  <a:pt x="1913" y="456788"/>
                </a:cubicBezTo>
                <a:close/>
                <a:moveTo>
                  <a:pt x="1665174" y="0"/>
                </a:moveTo>
                <a:cubicBezTo>
                  <a:pt x="2550226" y="0"/>
                  <a:pt x="3267703" y="138401"/>
                  <a:pt x="3267703" y="309127"/>
                </a:cubicBezTo>
                <a:cubicBezTo>
                  <a:pt x="3267703" y="479853"/>
                  <a:pt x="2550226" y="618254"/>
                  <a:pt x="1665174" y="618254"/>
                </a:cubicBezTo>
                <a:cubicBezTo>
                  <a:pt x="780122" y="618254"/>
                  <a:pt x="62645" y="479853"/>
                  <a:pt x="62645" y="309127"/>
                </a:cubicBezTo>
                <a:cubicBezTo>
                  <a:pt x="62645" y="138401"/>
                  <a:pt x="780122" y="0"/>
                  <a:pt x="1665174" y="0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tx2"/>
            </a:solidFill>
            <a:round/>
            <a:headEnd/>
            <a:tailEnd/>
          </a:ln>
        </p:spPr>
        <p:txBody>
          <a:bodyPr vert="horz" wrap="square" lIns="91401" tIns="45700" rIns="91401" bIns="45700" numCol="1" anchor="t" anchorCtr="0" compatLnSpc="1">
            <a:prstTxWarp prst="textNoShape">
              <a:avLst/>
            </a:prstTxWarp>
            <a:noAutofit/>
          </a:bodyPr>
          <a:lstStyle/>
          <a:p>
            <a:pPr defTabSz="932239">
              <a:defRPr/>
            </a:pPr>
            <a:endParaRPr lang="en-US" kern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C263E34D-74AC-460E-957C-D2C04A924468}"/>
              </a:ext>
            </a:extLst>
          </p:cNvPr>
          <p:cNvSpPr txBox="1"/>
          <p:nvPr/>
        </p:nvSpPr>
        <p:spPr>
          <a:xfrm>
            <a:off x="7307177" y="4094857"/>
            <a:ext cx="1554480" cy="221599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lnSpc>
                <a:spcPct val="90000"/>
              </a:lnSpc>
              <a:spcAft>
                <a:spcPts val="988"/>
              </a:spcAft>
              <a:buSzPct val="90000"/>
              <a:defRPr sz="2000" dirty="0" err="1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defRPr>
            </a:pPr>
            <a:r>
              <a:rPr lang="en-US" sz="1600">
                <a:gradFill>
                  <a:gsLst>
                    <a:gs pos="40075">
                      <a:schemeClr val="accent2">
                        <a:lumMod val="50000"/>
                      </a:schemeClr>
                    </a:gs>
                    <a:gs pos="30000">
                      <a:schemeClr val="accent2">
                        <a:lumMod val="50000"/>
                      </a:schemeClr>
                    </a:gs>
                  </a:gsLst>
                  <a:lin ang="5400000" scaled="0"/>
                </a:gradFill>
              </a:rPr>
              <a:t>Data Stor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2BC9208-970F-4221-935E-732AF2131D2A}"/>
              </a:ext>
            </a:extLst>
          </p:cNvPr>
          <p:cNvGrpSpPr/>
          <p:nvPr/>
        </p:nvGrpSpPr>
        <p:grpSpPr>
          <a:xfrm>
            <a:off x="2778256" y="4573366"/>
            <a:ext cx="472483" cy="688633"/>
            <a:chOff x="5117409" y="3802308"/>
            <a:chExt cx="911785" cy="1535846"/>
          </a:xfrm>
        </p:grpSpPr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id="{A43EB5D2-EC02-4C9A-A3E7-BA946B1E5504}"/>
                </a:ext>
              </a:extLst>
            </p:cNvPr>
            <p:cNvGrpSpPr/>
            <p:nvPr/>
          </p:nvGrpSpPr>
          <p:grpSpPr>
            <a:xfrm rot="16200000">
              <a:off x="4956540" y="4265499"/>
              <a:ext cx="1233524" cy="911785"/>
              <a:chOff x="3863969" y="5013705"/>
              <a:chExt cx="909508" cy="505347"/>
            </a:xfrm>
          </p:grpSpPr>
          <p:sp>
            <p:nvSpPr>
              <p:cNvPr id="154" name="Cylinder 828">
                <a:extLst>
                  <a:ext uri="{FF2B5EF4-FFF2-40B4-BE49-F238E27FC236}">
                    <a16:creationId xmlns:a16="http://schemas.microsoft.com/office/drawing/2014/main" id="{2ED499E3-B669-4E1F-9DED-6DFB9B6AD403}"/>
                  </a:ext>
                </a:extLst>
              </p:cNvPr>
              <p:cNvSpPr/>
              <p:nvPr/>
            </p:nvSpPr>
            <p:spPr bwMode="auto">
              <a:xfrm rot="5400000">
                <a:off x="3732837" y="5144837"/>
                <a:ext cx="505346" cy="243081"/>
              </a:xfrm>
              <a:prstGeom prst="can">
                <a:avLst>
                  <a:gd name="adj" fmla="val 50000"/>
                </a:avLst>
              </a:prstGeom>
              <a:solidFill>
                <a:schemeClr val="bg1"/>
              </a:solidFill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chemeClr val="tx2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55" name="Cylinder 828">
                <a:extLst>
                  <a:ext uri="{FF2B5EF4-FFF2-40B4-BE49-F238E27FC236}">
                    <a16:creationId xmlns:a16="http://schemas.microsoft.com/office/drawing/2014/main" id="{8A860207-841E-44FB-8C3B-461D66447B0A}"/>
                  </a:ext>
                </a:extLst>
              </p:cNvPr>
              <p:cNvSpPr/>
              <p:nvPr/>
            </p:nvSpPr>
            <p:spPr bwMode="auto">
              <a:xfrm rot="5400000">
                <a:off x="4110202" y="4958596"/>
                <a:ext cx="430050" cy="615564"/>
              </a:xfrm>
              <a:prstGeom prst="can">
                <a:avLst>
                  <a:gd name="adj" fmla="val 17907"/>
                </a:avLst>
              </a:prstGeom>
              <a:solidFill>
                <a:schemeClr val="bg1"/>
              </a:solidFill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chemeClr val="tx2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56" name="Cylinder 828">
                <a:extLst>
                  <a:ext uri="{FF2B5EF4-FFF2-40B4-BE49-F238E27FC236}">
                    <a16:creationId xmlns:a16="http://schemas.microsoft.com/office/drawing/2014/main" id="{029753D1-0589-49C4-90DC-F4FF5E2E4181}"/>
                  </a:ext>
                </a:extLst>
              </p:cNvPr>
              <p:cNvSpPr/>
              <p:nvPr/>
            </p:nvSpPr>
            <p:spPr bwMode="auto">
              <a:xfrm rot="5400000">
                <a:off x="4399264" y="5144838"/>
                <a:ext cx="505346" cy="243081"/>
              </a:xfrm>
              <a:prstGeom prst="can">
                <a:avLst>
                  <a:gd name="adj" fmla="val 50000"/>
                </a:avLst>
              </a:prstGeom>
              <a:solidFill>
                <a:schemeClr val="bg1"/>
              </a:solidFill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chemeClr val="tx2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157" name="Group 20">
              <a:extLst>
                <a:ext uri="{FF2B5EF4-FFF2-40B4-BE49-F238E27FC236}">
                  <a16:creationId xmlns:a16="http://schemas.microsoft.com/office/drawing/2014/main" id="{82F9D3CF-1D04-4562-A6D7-7969BDB8D96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354330" y="3802308"/>
              <a:ext cx="479602" cy="419822"/>
              <a:chOff x="3764" y="3313"/>
              <a:chExt cx="353" cy="309"/>
            </a:xfrm>
          </p:grpSpPr>
          <p:sp>
            <p:nvSpPr>
              <p:cNvPr id="158" name="Freeform 21">
                <a:extLst>
                  <a:ext uri="{FF2B5EF4-FFF2-40B4-BE49-F238E27FC236}">
                    <a16:creationId xmlns:a16="http://schemas.microsoft.com/office/drawing/2014/main" id="{AA970CEE-03BE-44FA-A6F3-A442B6DFB6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4" y="3313"/>
                <a:ext cx="0" cy="71"/>
              </a:xfrm>
              <a:custGeom>
                <a:avLst/>
                <a:gdLst>
                  <a:gd name="T0" fmla="*/ 0 h 51"/>
                  <a:gd name="T1" fmla="*/ 51 h 5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</a:cxnLst>
                <a:rect l="0" t="0" r="r" b="b"/>
                <a:pathLst>
                  <a:path h="51">
                    <a:moveTo>
                      <a:pt x="0" y="0"/>
                    </a:moveTo>
                    <a:cubicBezTo>
                      <a:pt x="0" y="51"/>
                      <a:pt x="0" y="51"/>
                      <a:pt x="0" y="51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" name="Freeform 22">
                <a:extLst>
                  <a:ext uri="{FF2B5EF4-FFF2-40B4-BE49-F238E27FC236}">
                    <a16:creationId xmlns:a16="http://schemas.microsoft.com/office/drawing/2014/main" id="{CAA4F36C-9C27-40F4-9821-9E5D911284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7" y="3313"/>
                <a:ext cx="0" cy="71"/>
              </a:xfrm>
              <a:custGeom>
                <a:avLst/>
                <a:gdLst>
                  <a:gd name="T0" fmla="*/ 0 h 51"/>
                  <a:gd name="T1" fmla="*/ 51 h 5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</a:cxnLst>
                <a:rect l="0" t="0" r="r" b="b"/>
                <a:pathLst>
                  <a:path h="51">
                    <a:moveTo>
                      <a:pt x="0" y="0"/>
                    </a:moveTo>
                    <a:cubicBezTo>
                      <a:pt x="0" y="51"/>
                      <a:pt x="0" y="51"/>
                      <a:pt x="0" y="51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" name="Freeform 23">
                <a:extLst>
                  <a:ext uri="{FF2B5EF4-FFF2-40B4-BE49-F238E27FC236}">
                    <a16:creationId xmlns:a16="http://schemas.microsoft.com/office/drawing/2014/main" id="{44610688-E0F8-4099-86CF-6CEFCFFBEA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8" y="3313"/>
                <a:ext cx="0" cy="71"/>
              </a:xfrm>
              <a:custGeom>
                <a:avLst/>
                <a:gdLst>
                  <a:gd name="T0" fmla="*/ 0 h 51"/>
                  <a:gd name="T1" fmla="*/ 51 h 5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</a:cxnLst>
                <a:rect l="0" t="0" r="r" b="b"/>
                <a:pathLst>
                  <a:path h="51">
                    <a:moveTo>
                      <a:pt x="0" y="0"/>
                    </a:moveTo>
                    <a:cubicBezTo>
                      <a:pt x="0" y="51"/>
                      <a:pt x="0" y="51"/>
                      <a:pt x="0" y="51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" name="Freeform 24">
                <a:extLst>
                  <a:ext uri="{FF2B5EF4-FFF2-40B4-BE49-F238E27FC236}">
                    <a16:creationId xmlns:a16="http://schemas.microsoft.com/office/drawing/2014/main" id="{40387AF4-29AA-471D-BAE7-6B9D2AE978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7" y="3313"/>
                <a:ext cx="47" cy="72"/>
              </a:xfrm>
              <a:custGeom>
                <a:avLst/>
                <a:gdLst>
                  <a:gd name="T0" fmla="*/ 34 w 34"/>
                  <a:gd name="T1" fmla="*/ 35 h 52"/>
                  <a:gd name="T2" fmla="*/ 34 w 34"/>
                  <a:gd name="T3" fmla="*/ 16 h 52"/>
                  <a:gd name="T4" fmla="*/ 17 w 34"/>
                  <a:gd name="T5" fmla="*/ 0 h 52"/>
                  <a:gd name="T6" fmla="*/ 17 w 34"/>
                  <a:gd name="T7" fmla="*/ 0 h 52"/>
                  <a:gd name="T8" fmla="*/ 0 w 34"/>
                  <a:gd name="T9" fmla="*/ 16 h 52"/>
                  <a:gd name="T10" fmla="*/ 0 w 34"/>
                  <a:gd name="T11" fmla="*/ 35 h 52"/>
                  <a:gd name="T12" fmla="*/ 17 w 34"/>
                  <a:gd name="T13" fmla="*/ 52 h 52"/>
                  <a:gd name="T14" fmla="*/ 17 w 34"/>
                  <a:gd name="T15" fmla="*/ 52 h 52"/>
                  <a:gd name="T16" fmla="*/ 34 w 34"/>
                  <a:gd name="T17" fmla="*/ 3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52">
                    <a:moveTo>
                      <a:pt x="34" y="35"/>
                    </a:moveTo>
                    <a:cubicBezTo>
                      <a:pt x="34" y="16"/>
                      <a:pt x="34" y="16"/>
                      <a:pt x="34" y="16"/>
                    </a:cubicBezTo>
                    <a:cubicBezTo>
                      <a:pt x="34" y="7"/>
                      <a:pt x="26" y="0"/>
                      <a:pt x="17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43"/>
                      <a:pt x="7" y="52"/>
                      <a:pt x="17" y="52"/>
                    </a:cubicBezTo>
                    <a:cubicBezTo>
                      <a:pt x="17" y="52"/>
                      <a:pt x="17" y="52"/>
                      <a:pt x="17" y="52"/>
                    </a:cubicBezTo>
                    <a:cubicBezTo>
                      <a:pt x="26" y="52"/>
                      <a:pt x="34" y="43"/>
                      <a:pt x="34" y="35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" name="Freeform 25">
                <a:extLst>
                  <a:ext uri="{FF2B5EF4-FFF2-40B4-BE49-F238E27FC236}">
                    <a16:creationId xmlns:a16="http://schemas.microsoft.com/office/drawing/2014/main" id="{43A651FA-B8C3-4A76-BD4A-C554742D3E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0" y="3313"/>
                <a:ext cx="44" cy="72"/>
              </a:xfrm>
              <a:custGeom>
                <a:avLst/>
                <a:gdLst>
                  <a:gd name="T0" fmla="*/ 32 w 32"/>
                  <a:gd name="T1" fmla="*/ 35 h 52"/>
                  <a:gd name="T2" fmla="*/ 32 w 32"/>
                  <a:gd name="T3" fmla="*/ 16 h 52"/>
                  <a:gd name="T4" fmla="*/ 15 w 32"/>
                  <a:gd name="T5" fmla="*/ 0 h 52"/>
                  <a:gd name="T6" fmla="*/ 15 w 32"/>
                  <a:gd name="T7" fmla="*/ 0 h 52"/>
                  <a:gd name="T8" fmla="*/ 0 w 32"/>
                  <a:gd name="T9" fmla="*/ 16 h 52"/>
                  <a:gd name="T10" fmla="*/ 0 w 32"/>
                  <a:gd name="T11" fmla="*/ 35 h 52"/>
                  <a:gd name="T12" fmla="*/ 15 w 32"/>
                  <a:gd name="T13" fmla="*/ 52 h 52"/>
                  <a:gd name="T14" fmla="*/ 15 w 32"/>
                  <a:gd name="T15" fmla="*/ 52 h 52"/>
                  <a:gd name="T16" fmla="*/ 32 w 32"/>
                  <a:gd name="T17" fmla="*/ 3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" h="52">
                    <a:moveTo>
                      <a:pt x="32" y="35"/>
                    </a:moveTo>
                    <a:cubicBezTo>
                      <a:pt x="32" y="16"/>
                      <a:pt x="32" y="16"/>
                      <a:pt x="32" y="16"/>
                    </a:cubicBezTo>
                    <a:cubicBezTo>
                      <a:pt x="32" y="7"/>
                      <a:pt x="25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43"/>
                      <a:pt x="7" y="52"/>
                      <a:pt x="15" y="52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25" y="52"/>
                      <a:pt x="32" y="43"/>
                      <a:pt x="32" y="35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" name="Freeform 26">
                <a:extLst>
                  <a:ext uri="{FF2B5EF4-FFF2-40B4-BE49-F238E27FC236}">
                    <a16:creationId xmlns:a16="http://schemas.microsoft.com/office/drawing/2014/main" id="{E034E5DC-CE2C-4848-B5A0-7055539F5D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1" y="3313"/>
                <a:ext cx="46" cy="72"/>
              </a:xfrm>
              <a:custGeom>
                <a:avLst/>
                <a:gdLst>
                  <a:gd name="T0" fmla="*/ 34 w 34"/>
                  <a:gd name="T1" fmla="*/ 35 h 52"/>
                  <a:gd name="T2" fmla="*/ 34 w 34"/>
                  <a:gd name="T3" fmla="*/ 16 h 52"/>
                  <a:gd name="T4" fmla="*/ 17 w 34"/>
                  <a:gd name="T5" fmla="*/ 0 h 52"/>
                  <a:gd name="T6" fmla="*/ 17 w 34"/>
                  <a:gd name="T7" fmla="*/ 0 h 52"/>
                  <a:gd name="T8" fmla="*/ 0 w 34"/>
                  <a:gd name="T9" fmla="*/ 16 h 52"/>
                  <a:gd name="T10" fmla="*/ 0 w 34"/>
                  <a:gd name="T11" fmla="*/ 35 h 52"/>
                  <a:gd name="T12" fmla="*/ 17 w 34"/>
                  <a:gd name="T13" fmla="*/ 52 h 52"/>
                  <a:gd name="T14" fmla="*/ 17 w 34"/>
                  <a:gd name="T15" fmla="*/ 52 h 52"/>
                  <a:gd name="T16" fmla="*/ 34 w 34"/>
                  <a:gd name="T17" fmla="*/ 3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52">
                    <a:moveTo>
                      <a:pt x="34" y="35"/>
                    </a:moveTo>
                    <a:cubicBezTo>
                      <a:pt x="34" y="16"/>
                      <a:pt x="34" y="16"/>
                      <a:pt x="34" y="16"/>
                    </a:cubicBezTo>
                    <a:cubicBezTo>
                      <a:pt x="34" y="7"/>
                      <a:pt x="25" y="0"/>
                      <a:pt x="17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43"/>
                      <a:pt x="7" y="52"/>
                      <a:pt x="17" y="52"/>
                    </a:cubicBezTo>
                    <a:cubicBezTo>
                      <a:pt x="17" y="52"/>
                      <a:pt x="17" y="52"/>
                      <a:pt x="17" y="52"/>
                    </a:cubicBezTo>
                    <a:cubicBezTo>
                      <a:pt x="25" y="52"/>
                      <a:pt x="34" y="43"/>
                      <a:pt x="34" y="35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" name="Freeform 27">
                <a:extLst>
                  <a:ext uri="{FF2B5EF4-FFF2-40B4-BE49-F238E27FC236}">
                    <a16:creationId xmlns:a16="http://schemas.microsoft.com/office/drawing/2014/main" id="{D3389AE0-6C6B-4C15-997E-2B31B06659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4" y="3550"/>
                <a:ext cx="0" cy="72"/>
              </a:xfrm>
              <a:custGeom>
                <a:avLst/>
                <a:gdLst>
                  <a:gd name="T0" fmla="*/ 0 h 52"/>
                  <a:gd name="T1" fmla="*/ 52 h 5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</a:cxnLst>
                <a:rect l="0" t="0" r="r" b="b"/>
                <a:pathLst>
                  <a:path h="52">
                    <a:moveTo>
                      <a:pt x="0" y="0"/>
                    </a:moveTo>
                    <a:cubicBezTo>
                      <a:pt x="0" y="52"/>
                      <a:pt x="0" y="52"/>
                      <a:pt x="0" y="52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" name="Freeform 28">
                <a:extLst>
                  <a:ext uri="{FF2B5EF4-FFF2-40B4-BE49-F238E27FC236}">
                    <a16:creationId xmlns:a16="http://schemas.microsoft.com/office/drawing/2014/main" id="{D3FB567C-25D3-4515-8859-D783E6A2B2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7" y="3550"/>
                <a:ext cx="0" cy="72"/>
              </a:xfrm>
              <a:custGeom>
                <a:avLst/>
                <a:gdLst>
                  <a:gd name="T0" fmla="*/ 0 h 52"/>
                  <a:gd name="T1" fmla="*/ 52 h 5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</a:cxnLst>
                <a:rect l="0" t="0" r="r" b="b"/>
                <a:pathLst>
                  <a:path h="52">
                    <a:moveTo>
                      <a:pt x="0" y="0"/>
                    </a:moveTo>
                    <a:cubicBezTo>
                      <a:pt x="0" y="52"/>
                      <a:pt x="0" y="52"/>
                      <a:pt x="0" y="52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" name="Freeform 29">
                <a:extLst>
                  <a:ext uri="{FF2B5EF4-FFF2-40B4-BE49-F238E27FC236}">
                    <a16:creationId xmlns:a16="http://schemas.microsoft.com/office/drawing/2014/main" id="{99E4D574-FF1C-43EE-98DB-8E108CEB1E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8" y="3550"/>
                <a:ext cx="0" cy="72"/>
              </a:xfrm>
              <a:custGeom>
                <a:avLst/>
                <a:gdLst>
                  <a:gd name="T0" fmla="*/ 0 h 52"/>
                  <a:gd name="T1" fmla="*/ 52 h 5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</a:cxnLst>
                <a:rect l="0" t="0" r="r" b="b"/>
                <a:pathLst>
                  <a:path h="52">
                    <a:moveTo>
                      <a:pt x="0" y="0"/>
                    </a:moveTo>
                    <a:cubicBezTo>
                      <a:pt x="0" y="52"/>
                      <a:pt x="0" y="52"/>
                      <a:pt x="0" y="52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" name="Freeform 30">
                <a:extLst>
                  <a:ext uri="{FF2B5EF4-FFF2-40B4-BE49-F238E27FC236}">
                    <a16:creationId xmlns:a16="http://schemas.microsoft.com/office/drawing/2014/main" id="{5A40019F-7FD5-419C-A736-FBAF9716D1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7" y="3550"/>
                <a:ext cx="47" cy="72"/>
              </a:xfrm>
              <a:custGeom>
                <a:avLst/>
                <a:gdLst>
                  <a:gd name="T0" fmla="*/ 34 w 34"/>
                  <a:gd name="T1" fmla="*/ 35 h 52"/>
                  <a:gd name="T2" fmla="*/ 34 w 34"/>
                  <a:gd name="T3" fmla="*/ 17 h 52"/>
                  <a:gd name="T4" fmla="*/ 17 w 34"/>
                  <a:gd name="T5" fmla="*/ 0 h 52"/>
                  <a:gd name="T6" fmla="*/ 17 w 34"/>
                  <a:gd name="T7" fmla="*/ 0 h 52"/>
                  <a:gd name="T8" fmla="*/ 0 w 34"/>
                  <a:gd name="T9" fmla="*/ 17 h 52"/>
                  <a:gd name="T10" fmla="*/ 0 w 34"/>
                  <a:gd name="T11" fmla="*/ 35 h 52"/>
                  <a:gd name="T12" fmla="*/ 17 w 34"/>
                  <a:gd name="T13" fmla="*/ 52 h 52"/>
                  <a:gd name="T14" fmla="*/ 17 w 34"/>
                  <a:gd name="T15" fmla="*/ 52 h 52"/>
                  <a:gd name="T16" fmla="*/ 34 w 34"/>
                  <a:gd name="T17" fmla="*/ 3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52">
                    <a:moveTo>
                      <a:pt x="34" y="35"/>
                    </a:moveTo>
                    <a:cubicBezTo>
                      <a:pt x="34" y="17"/>
                      <a:pt x="34" y="17"/>
                      <a:pt x="34" y="17"/>
                    </a:cubicBezTo>
                    <a:cubicBezTo>
                      <a:pt x="34" y="8"/>
                      <a:pt x="26" y="0"/>
                      <a:pt x="17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7" y="0"/>
                      <a:pt x="0" y="8"/>
                      <a:pt x="0" y="17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45"/>
                      <a:pt x="7" y="52"/>
                      <a:pt x="17" y="52"/>
                    </a:cubicBezTo>
                    <a:cubicBezTo>
                      <a:pt x="17" y="52"/>
                      <a:pt x="17" y="52"/>
                      <a:pt x="17" y="52"/>
                    </a:cubicBezTo>
                    <a:cubicBezTo>
                      <a:pt x="26" y="52"/>
                      <a:pt x="34" y="45"/>
                      <a:pt x="34" y="35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Freeform 31">
                <a:extLst>
                  <a:ext uri="{FF2B5EF4-FFF2-40B4-BE49-F238E27FC236}">
                    <a16:creationId xmlns:a16="http://schemas.microsoft.com/office/drawing/2014/main" id="{1AF56BE7-4014-4237-8624-D08E42A5C2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0" y="3550"/>
                <a:ext cx="44" cy="72"/>
              </a:xfrm>
              <a:custGeom>
                <a:avLst/>
                <a:gdLst>
                  <a:gd name="T0" fmla="*/ 32 w 32"/>
                  <a:gd name="T1" fmla="*/ 35 h 52"/>
                  <a:gd name="T2" fmla="*/ 32 w 32"/>
                  <a:gd name="T3" fmla="*/ 17 h 52"/>
                  <a:gd name="T4" fmla="*/ 15 w 32"/>
                  <a:gd name="T5" fmla="*/ 0 h 52"/>
                  <a:gd name="T6" fmla="*/ 15 w 32"/>
                  <a:gd name="T7" fmla="*/ 0 h 52"/>
                  <a:gd name="T8" fmla="*/ 0 w 32"/>
                  <a:gd name="T9" fmla="*/ 17 h 52"/>
                  <a:gd name="T10" fmla="*/ 0 w 32"/>
                  <a:gd name="T11" fmla="*/ 35 h 52"/>
                  <a:gd name="T12" fmla="*/ 15 w 32"/>
                  <a:gd name="T13" fmla="*/ 52 h 52"/>
                  <a:gd name="T14" fmla="*/ 15 w 32"/>
                  <a:gd name="T15" fmla="*/ 52 h 52"/>
                  <a:gd name="T16" fmla="*/ 32 w 32"/>
                  <a:gd name="T17" fmla="*/ 3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" h="52">
                    <a:moveTo>
                      <a:pt x="32" y="35"/>
                    </a:moveTo>
                    <a:cubicBezTo>
                      <a:pt x="32" y="17"/>
                      <a:pt x="32" y="17"/>
                      <a:pt x="32" y="17"/>
                    </a:cubicBezTo>
                    <a:cubicBezTo>
                      <a:pt x="32" y="8"/>
                      <a:pt x="25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8"/>
                      <a:pt x="0" y="17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45"/>
                      <a:pt x="7" y="52"/>
                      <a:pt x="15" y="52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25" y="52"/>
                      <a:pt x="32" y="45"/>
                      <a:pt x="32" y="35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Freeform 32">
                <a:extLst>
                  <a:ext uri="{FF2B5EF4-FFF2-40B4-BE49-F238E27FC236}">
                    <a16:creationId xmlns:a16="http://schemas.microsoft.com/office/drawing/2014/main" id="{905DA94E-090E-4E09-AC33-49C75920A3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1" y="3550"/>
                <a:ext cx="46" cy="72"/>
              </a:xfrm>
              <a:custGeom>
                <a:avLst/>
                <a:gdLst>
                  <a:gd name="T0" fmla="*/ 34 w 34"/>
                  <a:gd name="T1" fmla="*/ 35 h 52"/>
                  <a:gd name="T2" fmla="*/ 34 w 34"/>
                  <a:gd name="T3" fmla="*/ 17 h 52"/>
                  <a:gd name="T4" fmla="*/ 17 w 34"/>
                  <a:gd name="T5" fmla="*/ 0 h 52"/>
                  <a:gd name="T6" fmla="*/ 17 w 34"/>
                  <a:gd name="T7" fmla="*/ 0 h 52"/>
                  <a:gd name="T8" fmla="*/ 0 w 34"/>
                  <a:gd name="T9" fmla="*/ 17 h 52"/>
                  <a:gd name="T10" fmla="*/ 0 w 34"/>
                  <a:gd name="T11" fmla="*/ 35 h 52"/>
                  <a:gd name="T12" fmla="*/ 17 w 34"/>
                  <a:gd name="T13" fmla="*/ 52 h 52"/>
                  <a:gd name="T14" fmla="*/ 17 w 34"/>
                  <a:gd name="T15" fmla="*/ 52 h 52"/>
                  <a:gd name="T16" fmla="*/ 34 w 34"/>
                  <a:gd name="T17" fmla="*/ 3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52">
                    <a:moveTo>
                      <a:pt x="34" y="35"/>
                    </a:moveTo>
                    <a:cubicBezTo>
                      <a:pt x="34" y="17"/>
                      <a:pt x="34" y="17"/>
                      <a:pt x="34" y="17"/>
                    </a:cubicBezTo>
                    <a:cubicBezTo>
                      <a:pt x="34" y="8"/>
                      <a:pt x="25" y="0"/>
                      <a:pt x="17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7" y="0"/>
                      <a:pt x="0" y="8"/>
                      <a:pt x="0" y="17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45"/>
                      <a:pt x="7" y="52"/>
                      <a:pt x="17" y="52"/>
                    </a:cubicBezTo>
                    <a:cubicBezTo>
                      <a:pt x="17" y="52"/>
                      <a:pt x="17" y="52"/>
                      <a:pt x="17" y="52"/>
                    </a:cubicBezTo>
                    <a:cubicBezTo>
                      <a:pt x="25" y="52"/>
                      <a:pt x="34" y="45"/>
                      <a:pt x="34" y="35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Freeform 33">
                <a:extLst>
                  <a:ext uri="{FF2B5EF4-FFF2-40B4-BE49-F238E27FC236}">
                    <a16:creationId xmlns:a16="http://schemas.microsoft.com/office/drawing/2014/main" id="{03C5A157-36EC-4D8A-B5D6-BEEB737EEE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4" y="3435"/>
                <a:ext cx="0" cy="68"/>
              </a:xfrm>
              <a:custGeom>
                <a:avLst/>
                <a:gdLst>
                  <a:gd name="T0" fmla="*/ 0 h 50"/>
                  <a:gd name="T1" fmla="*/ 50 h 50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</a:cxnLst>
                <a:rect l="0" t="0" r="r" b="b"/>
                <a:pathLst>
                  <a:path h="50">
                    <a:moveTo>
                      <a:pt x="0" y="0"/>
                    </a:moveTo>
                    <a:cubicBezTo>
                      <a:pt x="0" y="50"/>
                      <a:pt x="0" y="50"/>
                      <a:pt x="0" y="50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" name="Freeform 34">
                <a:extLst>
                  <a:ext uri="{FF2B5EF4-FFF2-40B4-BE49-F238E27FC236}">
                    <a16:creationId xmlns:a16="http://schemas.microsoft.com/office/drawing/2014/main" id="{66DA49C3-284D-4065-B48A-2AE5D57B6F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4" y="3435"/>
                <a:ext cx="0" cy="68"/>
              </a:xfrm>
              <a:custGeom>
                <a:avLst/>
                <a:gdLst>
                  <a:gd name="T0" fmla="*/ 0 h 50"/>
                  <a:gd name="T1" fmla="*/ 50 h 50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</a:cxnLst>
                <a:rect l="0" t="0" r="r" b="b"/>
                <a:pathLst>
                  <a:path h="50">
                    <a:moveTo>
                      <a:pt x="0" y="0"/>
                    </a:moveTo>
                    <a:cubicBezTo>
                      <a:pt x="0" y="50"/>
                      <a:pt x="0" y="50"/>
                      <a:pt x="0" y="50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" name="Freeform 35">
                <a:extLst>
                  <a:ext uri="{FF2B5EF4-FFF2-40B4-BE49-F238E27FC236}">
                    <a16:creationId xmlns:a16="http://schemas.microsoft.com/office/drawing/2014/main" id="{8362C396-BAA3-4DF7-B697-674F362690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4" y="3435"/>
                <a:ext cx="46" cy="71"/>
              </a:xfrm>
              <a:custGeom>
                <a:avLst/>
                <a:gdLst>
                  <a:gd name="T0" fmla="*/ 34 w 34"/>
                  <a:gd name="T1" fmla="*/ 35 h 52"/>
                  <a:gd name="T2" fmla="*/ 34 w 34"/>
                  <a:gd name="T3" fmla="*/ 16 h 52"/>
                  <a:gd name="T4" fmla="*/ 17 w 34"/>
                  <a:gd name="T5" fmla="*/ 0 h 52"/>
                  <a:gd name="T6" fmla="*/ 17 w 34"/>
                  <a:gd name="T7" fmla="*/ 0 h 52"/>
                  <a:gd name="T8" fmla="*/ 0 w 34"/>
                  <a:gd name="T9" fmla="*/ 16 h 52"/>
                  <a:gd name="T10" fmla="*/ 0 w 34"/>
                  <a:gd name="T11" fmla="*/ 35 h 52"/>
                  <a:gd name="T12" fmla="*/ 17 w 34"/>
                  <a:gd name="T13" fmla="*/ 52 h 52"/>
                  <a:gd name="T14" fmla="*/ 17 w 34"/>
                  <a:gd name="T15" fmla="*/ 52 h 52"/>
                  <a:gd name="T16" fmla="*/ 34 w 34"/>
                  <a:gd name="T17" fmla="*/ 3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52">
                    <a:moveTo>
                      <a:pt x="34" y="35"/>
                    </a:moveTo>
                    <a:cubicBezTo>
                      <a:pt x="34" y="16"/>
                      <a:pt x="34" y="16"/>
                      <a:pt x="34" y="16"/>
                    </a:cubicBezTo>
                    <a:cubicBezTo>
                      <a:pt x="34" y="7"/>
                      <a:pt x="27" y="0"/>
                      <a:pt x="17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8" y="0"/>
                      <a:pt x="0" y="7"/>
                      <a:pt x="0" y="16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43"/>
                      <a:pt x="8" y="52"/>
                      <a:pt x="17" y="52"/>
                    </a:cubicBezTo>
                    <a:cubicBezTo>
                      <a:pt x="17" y="52"/>
                      <a:pt x="17" y="52"/>
                      <a:pt x="17" y="52"/>
                    </a:cubicBezTo>
                    <a:cubicBezTo>
                      <a:pt x="27" y="52"/>
                      <a:pt x="34" y="43"/>
                      <a:pt x="34" y="35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" name="Freeform 36">
                <a:extLst>
                  <a:ext uri="{FF2B5EF4-FFF2-40B4-BE49-F238E27FC236}">
                    <a16:creationId xmlns:a16="http://schemas.microsoft.com/office/drawing/2014/main" id="{C07EA0A0-E7EA-44D7-8A0E-E4D7F30D91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7" y="3435"/>
                <a:ext cx="45" cy="71"/>
              </a:xfrm>
              <a:custGeom>
                <a:avLst/>
                <a:gdLst>
                  <a:gd name="T0" fmla="*/ 33 w 33"/>
                  <a:gd name="T1" fmla="*/ 35 h 52"/>
                  <a:gd name="T2" fmla="*/ 33 w 33"/>
                  <a:gd name="T3" fmla="*/ 16 h 52"/>
                  <a:gd name="T4" fmla="*/ 16 w 33"/>
                  <a:gd name="T5" fmla="*/ 0 h 52"/>
                  <a:gd name="T6" fmla="*/ 16 w 33"/>
                  <a:gd name="T7" fmla="*/ 0 h 52"/>
                  <a:gd name="T8" fmla="*/ 0 w 33"/>
                  <a:gd name="T9" fmla="*/ 16 h 52"/>
                  <a:gd name="T10" fmla="*/ 0 w 33"/>
                  <a:gd name="T11" fmla="*/ 35 h 52"/>
                  <a:gd name="T12" fmla="*/ 16 w 33"/>
                  <a:gd name="T13" fmla="*/ 52 h 52"/>
                  <a:gd name="T14" fmla="*/ 16 w 33"/>
                  <a:gd name="T15" fmla="*/ 52 h 52"/>
                  <a:gd name="T16" fmla="*/ 33 w 33"/>
                  <a:gd name="T17" fmla="*/ 3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52">
                    <a:moveTo>
                      <a:pt x="33" y="35"/>
                    </a:moveTo>
                    <a:cubicBezTo>
                      <a:pt x="33" y="16"/>
                      <a:pt x="33" y="16"/>
                      <a:pt x="33" y="16"/>
                    </a:cubicBezTo>
                    <a:cubicBezTo>
                      <a:pt x="33" y="7"/>
                      <a:pt x="25" y="0"/>
                      <a:pt x="16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43"/>
                      <a:pt x="7" y="52"/>
                      <a:pt x="16" y="52"/>
                    </a:cubicBezTo>
                    <a:cubicBezTo>
                      <a:pt x="16" y="52"/>
                      <a:pt x="16" y="52"/>
                      <a:pt x="16" y="52"/>
                    </a:cubicBezTo>
                    <a:cubicBezTo>
                      <a:pt x="25" y="52"/>
                      <a:pt x="33" y="43"/>
                      <a:pt x="33" y="35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" name="Freeform 37">
                <a:extLst>
                  <a:ext uri="{FF2B5EF4-FFF2-40B4-BE49-F238E27FC236}">
                    <a16:creationId xmlns:a16="http://schemas.microsoft.com/office/drawing/2014/main" id="{5273CE88-CE70-4C9E-A9B6-6024EE9A98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8" y="3435"/>
                <a:ext cx="45" cy="71"/>
              </a:xfrm>
              <a:custGeom>
                <a:avLst/>
                <a:gdLst>
                  <a:gd name="T0" fmla="*/ 33 w 33"/>
                  <a:gd name="T1" fmla="*/ 35 h 52"/>
                  <a:gd name="T2" fmla="*/ 33 w 33"/>
                  <a:gd name="T3" fmla="*/ 16 h 52"/>
                  <a:gd name="T4" fmla="*/ 16 w 33"/>
                  <a:gd name="T5" fmla="*/ 0 h 52"/>
                  <a:gd name="T6" fmla="*/ 16 w 33"/>
                  <a:gd name="T7" fmla="*/ 0 h 52"/>
                  <a:gd name="T8" fmla="*/ 0 w 33"/>
                  <a:gd name="T9" fmla="*/ 16 h 52"/>
                  <a:gd name="T10" fmla="*/ 0 w 33"/>
                  <a:gd name="T11" fmla="*/ 35 h 52"/>
                  <a:gd name="T12" fmla="*/ 16 w 33"/>
                  <a:gd name="T13" fmla="*/ 52 h 52"/>
                  <a:gd name="T14" fmla="*/ 16 w 33"/>
                  <a:gd name="T15" fmla="*/ 52 h 52"/>
                  <a:gd name="T16" fmla="*/ 33 w 33"/>
                  <a:gd name="T17" fmla="*/ 3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52">
                    <a:moveTo>
                      <a:pt x="33" y="35"/>
                    </a:moveTo>
                    <a:cubicBezTo>
                      <a:pt x="33" y="16"/>
                      <a:pt x="33" y="16"/>
                      <a:pt x="33" y="16"/>
                    </a:cubicBezTo>
                    <a:cubicBezTo>
                      <a:pt x="33" y="7"/>
                      <a:pt x="25" y="0"/>
                      <a:pt x="16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43"/>
                      <a:pt x="7" y="52"/>
                      <a:pt x="16" y="52"/>
                    </a:cubicBezTo>
                    <a:cubicBezTo>
                      <a:pt x="16" y="52"/>
                      <a:pt x="16" y="52"/>
                      <a:pt x="16" y="52"/>
                    </a:cubicBezTo>
                    <a:cubicBezTo>
                      <a:pt x="25" y="52"/>
                      <a:pt x="33" y="43"/>
                      <a:pt x="33" y="35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" name="Freeform 38">
                <a:extLst>
                  <a:ext uri="{FF2B5EF4-FFF2-40B4-BE49-F238E27FC236}">
                    <a16:creationId xmlns:a16="http://schemas.microsoft.com/office/drawing/2014/main" id="{DA14CC48-B0CA-45A6-8468-B8025B523D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7" y="3435"/>
                <a:ext cx="0" cy="68"/>
              </a:xfrm>
              <a:custGeom>
                <a:avLst/>
                <a:gdLst>
                  <a:gd name="T0" fmla="*/ 0 h 50"/>
                  <a:gd name="T1" fmla="*/ 50 h 50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</a:cxnLst>
                <a:rect l="0" t="0" r="r" b="b"/>
                <a:pathLst>
                  <a:path h="50">
                    <a:moveTo>
                      <a:pt x="0" y="0"/>
                    </a:moveTo>
                    <a:cubicBezTo>
                      <a:pt x="0" y="50"/>
                      <a:pt x="0" y="50"/>
                      <a:pt x="0" y="50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76" name="TextBox 175">
            <a:extLst>
              <a:ext uri="{FF2B5EF4-FFF2-40B4-BE49-F238E27FC236}">
                <a16:creationId xmlns:a16="http://schemas.microsoft.com/office/drawing/2014/main" id="{B11704EE-B0B3-481C-BE3B-E0BC7BC8C8B5}"/>
              </a:ext>
            </a:extLst>
          </p:cNvPr>
          <p:cNvSpPr txBox="1"/>
          <p:nvPr/>
        </p:nvSpPr>
        <p:spPr>
          <a:xfrm>
            <a:off x="3268430" y="3942611"/>
            <a:ext cx="1554480" cy="221599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lnSpc>
                <a:spcPct val="90000"/>
              </a:lnSpc>
              <a:spcAft>
                <a:spcPts val="988"/>
              </a:spcAft>
              <a:buSzPct val="90000"/>
              <a:defRPr sz="2000" dirty="0" err="1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defRPr>
            </a:pPr>
            <a:r>
              <a:rPr lang="en-US" sz="1600">
                <a:gradFill>
                  <a:gsLst>
                    <a:gs pos="40075">
                      <a:schemeClr val="accent2">
                        <a:lumMod val="50000"/>
                      </a:schemeClr>
                    </a:gs>
                    <a:gs pos="30000">
                      <a:schemeClr val="accent2">
                        <a:lumMod val="50000"/>
                      </a:schemeClr>
                    </a:gs>
                  </a:gsLst>
                  <a:lin ang="5400000" scaled="0"/>
                </a:gradFill>
              </a:rPr>
              <a:t>Experiments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431706B8-700C-4F69-9679-F46AEEB2A8DB}"/>
              </a:ext>
            </a:extLst>
          </p:cNvPr>
          <p:cNvSpPr txBox="1"/>
          <p:nvPr/>
        </p:nvSpPr>
        <p:spPr>
          <a:xfrm>
            <a:off x="7338261" y="4818981"/>
            <a:ext cx="1828800" cy="221599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lnSpc>
                <a:spcPct val="90000"/>
              </a:lnSpc>
              <a:spcAft>
                <a:spcPts val="988"/>
              </a:spcAft>
              <a:buSzPct val="90000"/>
              <a:defRPr sz="2000" dirty="0" err="1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defRPr>
            </a:pPr>
            <a:r>
              <a:rPr lang="en-US" sz="1600">
                <a:gradFill>
                  <a:gsLst>
                    <a:gs pos="40075">
                      <a:schemeClr val="accent2">
                        <a:lumMod val="50000"/>
                      </a:schemeClr>
                    </a:gs>
                    <a:gs pos="30000">
                      <a:schemeClr val="accent2">
                        <a:lumMod val="50000"/>
                      </a:schemeClr>
                    </a:gs>
                  </a:gsLst>
                  <a:lin ang="5400000" scaled="0"/>
                </a:gradFill>
              </a:rPr>
              <a:t>Compute Targets</a:t>
            </a:r>
          </a:p>
        </p:txBody>
      </p: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1F6D6884-6DF6-4208-A646-B6729ABB599E}"/>
              </a:ext>
            </a:extLst>
          </p:cNvPr>
          <p:cNvGrpSpPr/>
          <p:nvPr/>
        </p:nvGrpSpPr>
        <p:grpSpPr>
          <a:xfrm>
            <a:off x="6846740" y="4709744"/>
            <a:ext cx="442565" cy="440739"/>
            <a:chOff x="7643146" y="2995601"/>
            <a:chExt cx="270958" cy="269839"/>
          </a:xfrm>
        </p:grpSpPr>
        <p:sp>
          <p:nvSpPr>
            <p:cNvPr id="179" name="Freeform 78">
              <a:extLst>
                <a:ext uri="{FF2B5EF4-FFF2-40B4-BE49-F238E27FC236}">
                  <a16:creationId xmlns:a16="http://schemas.microsoft.com/office/drawing/2014/main" id="{C971FAC7-C4F0-42FE-8409-3F044746768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6736" y="3031430"/>
              <a:ext cx="201539" cy="200420"/>
            </a:xfrm>
            <a:custGeom>
              <a:avLst/>
              <a:gdLst>
                <a:gd name="T0" fmla="*/ 75 w 83"/>
                <a:gd name="T1" fmla="*/ 83 h 83"/>
                <a:gd name="T2" fmla="*/ 8 w 83"/>
                <a:gd name="T3" fmla="*/ 83 h 83"/>
                <a:gd name="T4" fmla="*/ 0 w 83"/>
                <a:gd name="T5" fmla="*/ 75 h 83"/>
                <a:gd name="T6" fmla="*/ 0 w 83"/>
                <a:gd name="T7" fmla="*/ 8 h 83"/>
                <a:gd name="T8" fmla="*/ 8 w 83"/>
                <a:gd name="T9" fmla="*/ 0 h 83"/>
                <a:gd name="T10" fmla="*/ 75 w 83"/>
                <a:gd name="T11" fmla="*/ 0 h 83"/>
                <a:gd name="T12" fmla="*/ 83 w 83"/>
                <a:gd name="T13" fmla="*/ 8 h 83"/>
                <a:gd name="T14" fmla="*/ 83 w 83"/>
                <a:gd name="T15" fmla="*/ 75 h 83"/>
                <a:gd name="T16" fmla="*/ 75 w 83"/>
                <a:gd name="T17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3" h="83">
                  <a:moveTo>
                    <a:pt x="75" y="83"/>
                  </a:moveTo>
                  <a:cubicBezTo>
                    <a:pt x="8" y="83"/>
                    <a:pt x="8" y="83"/>
                    <a:pt x="8" y="83"/>
                  </a:cubicBezTo>
                  <a:cubicBezTo>
                    <a:pt x="4" y="83"/>
                    <a:pt x="0" y="79"/>
                    <a:pt x="0" y="7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4" y="0"/>
                    <a:pt x="8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80" y="0"/>
                    <a:pt x="83" y="3"/>
                    <a:pt x="83" y="8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83" y="79"/>
                    <a:pt x="80" y="83"/>
                    <a:pt x="75" y="83"/>
                  </a:cubicBezTo>
                  <a:close/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80" name="Line 79">
              <a:extLst>
                <a:ext uri="{FF2B5EF4-FFF2-40B4-BE49-F238E27FC236}">
                  <a16:creationId xmlns:a16="http://schemas.microsoft.com/office/drawing/2014/main" id="{95BDAECF-851B-4FAC-BB2D-4896A854317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09206" y="2995601"/>
              <a:ext cx="0" cy="31351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81" name="Line 80">
              <a:extLst>
                <a:ext uri="{FF2B5EF4-FFF2-40B4-BE49-F238E27FC236}">
                  <a16:creationId xmlns:a16="http://schemas.microsoft.com/office/drawing/2014/main" id="{88C14C6F-F42D-483B-BFB2-3CED28B553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42796" y="2995601"/>
              <a:ext cx="0" cy="31351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82" name="Line 81">
              <a:extLst>
                <a:ext uri="{FF2B5EF4-FFF2-40B4-BE49-F238E27FC236}">
                  <a16:creationId xmlns:a16="http://schemas.microsoft.com/office/drawing/2014/main" id="{DF5051E9-D3B1-4E50-9A06-AE86F6409BB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78625" y="2995601"/>
              <a:ext cx="0" cy="31351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83" name="Line 82">
              <a:extLst>
                <a:ext uri="{FF2B5EF4-FFF2-40B4-BE49-F238E27FC236}">
                  <a16:creationId xmlns:a16="http://schemas.microsoft.com/office/drawing/2014/main" id="{F4C2F34B-E37F-42DF-904F-CA522D83C7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12215" y="2995601"/>
              <a:ext cx="0" cy="31351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84" name="Line 83">
              <a:extLst>
                <a:ext uri="{FF2B5EF4-FFF2-40B4-BE49-F238E27FC236}">
                  <a16:creationId xmlns:a16="http://schemas.microsoft.com/office/drawing/2014/main" id="{287BF2C2-FE0F-4901-9699-9B99D4E19D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6924" y="2995601"/>
              <a:ext cx="0" cy="31351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85" name="Line 84">
              <a:extLst>
                <a:ext uri="{FF2B5EF4-FFF2-40B4-BE49-F238E27FC236}">
                  <a16:creationId xmlns:a16="http://schemas.microsoft.com/office/drawing/2014/main" id="{CA90E787-864F-4074-8A57-8C19D1B0CD1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882753" y="3060542"/>
              <a:ext cx="31351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86" name="Line 85">
              <a:extLst>
                <a:ext uri="{FF2B5EF4-FFF2-40B4-BE49-F238E27FC236}">
                  <a16:creationId xmlns:a16="http://schemas.microsoft.com/office/drawing/2014/main" id="{16964AF9-EA87-4986-B451-2247FDAFD50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882753" y="3096371"/>
              <a:ext cx="31351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87" name="Line 86">
              <a:extLst>
                <a:ext uri="{FF2B5EF4-FFF2-40B4-BE49-F238E27FC236}">
                  <a16:creationId xmlns:a16="http://schemas.microsoft.com/office/drawing/2014/main" id="{34D6B450-10C8-4986-9618-564F870104D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882753" y="3129961"/>
              <a:ext cx="31351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88" name="Line 87">
              <a:extLst>
                <a:ext uri="{FF2B5EF4-FFF2-40B4-BE49-F238E27FC236}">
                  <a16:creationId xmlns:a16="http://schemas.microsoft.com/office/drawing/2014/main" id="{0971E6E8-F571-4A94-95DB-064DD95B9AC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882753" y="3164670"/>
              <a:ext cx="31351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89" name="Line 88">
              <a:extLst>
                <a:ext uri="{FF2B5EF4-FFF2-40B4-BE49-F238E27FC236}">
                  <a16:creationId xmlns:a16="http://schemas.microsoft.com/office/drawing/2014/main" id="{2A84845D-11F6-4D5B-80BD-14428DA27F9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882753" y="3200500"/>
              <a:ext cx="31351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90" name="Line 89">
              <a:extLst>
                <a:ext uri="{FF2B5EF4-FFF2-40B4-BE49-F238E27FC236}">
                  <a16:creationId xmlns:a16="http://schemas.microsoft.com/office/drawing/2014/main" id="{A3C60E22-D29A-447D-BC25-F36A3562ED0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643146" y="3060542"/>
              <a:ext cx="31351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91" name="Line 90">
              <a:extLst>
                <a:ext uri="{FF2B5EF4-FFF2-40B4-BE49-F238E27FC236}">
                  <a16:creationId xmlns:a16="http://schemas.microsoft.com/office/drawing/2014/main" id="{F3F12813-363F-4438-AB14-7124219B4D3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643146" y="3096371"/>
              <a:ext cx="31351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92" name="Line 91">
              <a:extLst>
                <a:ext uri="{FF2B5EF4-FFF2-40B4-BE49-F238E27FC236}">
                  <a16:creationId xmlns:a16="http://schemas.microsoft.com/office/drawing/2014/main" id="{21732EB1-2EA5-445E-A40C-9F97CA17393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643146" y="3129961"/>
              <a:ext cx="31351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93" name="Line 92">
              <a:extLst>
                <a:ext uri="{FF2B5EF4-FFF2-40B4-BE49-F238E27FC236}">
                  <a16:creationId xmlns:a16="http://schemas.microsoft.com/office/drawing/2014/main" id="{3A5E5598-A0C5-46A0-852C-4D490271021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643146" y="3164670"/>
              <a:ext cx="31351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94" name="Line 93">
              <a:extLst>
                <a:ext uri="{FF2B5EF4-FFF2-40B4-BE49-F238E27FC236}">
                  <a16:creationId xmlns:a16="http://schemas.microsoft.com/office/drawing/2014/main" id="{7CF3BC0F-E12B-477A-B372-03D908EDBC5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643146" y="3200500"/>
              <a:ext cx="31351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95" name="Line 94">
              <a:extLst>
                <a:ext uri="{FF2B5EF4-FFF2-40B4-BE49-F238E27FC236}">
                  <a16:creationId xmlns:a16="http://schemas.microsoft.com/office/drawing/2014/main" id="{25D497E1-BDC7-44B2-93BD-2CF6ED9F43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09206" y="3234089"/>
              <a:ext cx="0" cy="31351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96" name="Line 95">
              <a:extLst>
                <a:ext uri="{FF2B5EF4-FFF2-40B4-BE49-F238E27FC236}">
                  <a16:creationId xmlns:a16="http://schemas.microsoft.com/office/drawing/2014/main" id="{72FEB8FC-1975-4852-96AA-2B8EB365C2A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42796" y="3234089"/>
              <a:ext cx="0" cy="31351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97" name="Line 96">
              <a:extLst>
                <a:ext uri="{FF2B5EF4-FFF2-40B4-BE49-F238E27FC236}">
                  <a16:creationId xmlns:a16="http://schemas.microsoft.com/office/drawing/2014/main" id="{B72E478B-F095-4F90-B0D9-50225E36285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78625" y="3234089"/>
              <a:ext cx="0" cy="31351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98" name="Line 97">
              <a:extLst>
                <a:ext uri="{FF2B5EF4-FFF2-40B4-BE49-F238E27FC236}">
                  <a16:creationId xmlns:a16="http://schemas.microsoft.com/office/drawing/2014/main" id="{4DBE430A-80EB-4433-A049-EE978BB9A12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12215" y="3234089"/>
              <a:ext cx="0" cy="31351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99" name="Line 98">
              <a:extLst>
                <a:ext uri="{FF2B5EF4-FFF2-40B4-BE49-F238E27FC236}">
                  <a16:creationId xmlns:a16="http://schemas.microsoft.com/office/drawing/2014/main" id="{81299979-E143-4BA2-916C-CD1A4F1956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6924" y="3234089"/>
              <a:ext cx="0" cy="31351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20638334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1" name="Connector: Elbow 190">
            <a:extLst>
              <a:ext uri="{FF2B5EF4-FFF2-40B4-BE49-F238E27FC236}">
                <a16:creationId xmlns:a16="http://schemas.microsoft.com/office/drawing/2014/main" id="{AA22A769-A91C-4FF4-9398-2D968A8F6026}"/>
              </a:ext>
            </a:extLst>
          </p:cNvPr>
          <p:cNvCxnSpPr>
            <a:cxnSpLocks/>
            <a:stCxn id="33" idx="1"/>
            <a:endCxn id="56" idx="1"/>
          </p:cNvCxnSpPr>
          <p:nvPr/>
        </p:nvCxnSpPr>
        <p:spPr>
          <a:xfrm rot="5400000" flipH="1" flipV="1">
            <a:off x="4886803" y="2265500"/>
            <a:ext cx="1465576" cy="874141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Connector: Elbow 119">
            <a:extLst>
              <a:ext uri="{FF2B5EF4-FFF2-40B4-BE49-F238E27FC236}">
                <a16:creationId xmlns:a16="http://schemas.microsoft.com/office/drawing/2014/main" id="{A61C3243-EBE9-42C9-8629-F1CE71FCD649}"/>
              </a:ext>
            </a:extLst>
          </p:cNvPr>
          <p:cNvCxnSpPr>
            <a:cxnSpLocks/>
            <a:stCxn id="33" idx="1"/>
            <a:endCxn id="84" idx="2"/>
          </p:cNvCxnSpPr>
          <p:nvPr/>
        </p:nvCxnSpPr>
        <p:spPr>
          <a:xfrm rot="16200000" flipV="1">
            <a:off x="4891014" y="3143851"/>
            <a:ext cx="576795" cy="622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ylinder 32">
            <a:extLst>
              <a:ext uri="{FF2B5EF4-FFF2-40B4-BE49-F238E27FC236}">
                <a16:creationId xmlns:a16="http://schemas.microsoft.com/office/drawing/2014/main" id="{39D18B11-75B1-4613-99E1-3324A4A7BD5B}"/>
              </a:ext>
            </a:extLst>
          </p:cNvPr>
          <p:cNvSpPr/>
          <p:nvPr/>
        </p:nvSpPr>
        <p:spPr>
          <a:xfrm>
            <a:off x="4477725" y="3435358"/>
            <a:ext cx="1409591" cy="748862"/>
          </a:xfrm>
          <a:prstGeom prst="can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/>
              <a:t>Code Repo</a:t>
            </a:r>
          </a:p>
        </p:txBody>
      </p:sp>
      <p:sp>
        <p:nvSpPr>
          <p:cNvPr id="56" name="Flowchart: Direct Access Storage 55">
            <a:extLst>
              <a:ext uri="{FF2B5EF4-FFF2-40B4-BE49-F238E27FC236}">
                <a16:creationId xmlns:a16="http://schemas.microsoft.com/office/drawing/2014/main" id="{1632CF77-AB96-48C0-A1D6-F1B3E38BAAD2}"/>
              </a:ext>
            </a:extLst>
          </p:cNvPr>
          <p:cNvSpPr/>
          <p:nvPr/>
        </p:nvSpPr>
        <p:spPr>
          <a:xfrm>
            <a:off x="6056662" y="1722562"/>
            <a:ext cx="3096875" cy="494439"/>
          </a:xfrm>
          <a:prstGeom prst="flowChartMagneticDrum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/>
              <a:t>Build Model</a:t>
            </a:r>
          </a:p>
        </p:txBody>
      </p: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2DC5976D-6950-4E4E-8488-E45FCFB76320}"/>
              </a:ext>
            </a:extLst>
          </p:cNvPr>
          <p:cNvCxnSpPr>
            <a:cxnSpLocks/>
            <a:stCxn id="56" idx="2"/>
            <a:endCxn id="63" idx="1"/>
          </p:cNvCxnSpPr>
          <p:nvPr/>
        </p:nvCxnSpPr>
        <p:spPr>
          <a:xfrm rot="5400000">
            <a:off x="6612419" y="1632758"/>
            <a:ext cx="408438" cy="1576925"/>
          </a:xfrm>
          <a:prstGeom prst="bentConnector4">
            <a:avLst>
              <a:gd name="adj1" fmla="val 24435"/>
              <a:gd name="adj2" fmla="val 114497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2425681F-D798-44B0-A1E4-7DBADDFC50A4}"/>
              </a:ext>
            </a:extLst>
          </p:cNvPr>
          <p:cNvSpPr/>
          <p:nvPr/>
        </p:nvSpPr>
        <p:spPr>
          <a:xfrm>
            <a:off x="7061730" y="2423056"/>
            <a:ext cx="876054" cy="413752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88"/>
              <a:t>Train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E1B5E10-11AA-4447-B274-7B04BEE87FBD}"/>
              </a:ext>
            </a:extLst>
          </p:cNvPr>
          <p:cNvSpPr/>
          <p:nvPr/>
        </p:nvSpPr>
        <p:spPr>
          <a:xfrm>
            <a:off x="8156421" y="2421516"/>
            <a:ext cx="876054" cy="413753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88"/>
              <a:t>Evaluate</a:t>
            </a:r>
          </a:p>
        </p:txBody>
      </p:sp>
      <p:cxnSp>
        <p:nvCxnSpPr>
          <p:cNvPr id="69" name="Connector: Elbow 68">
            <a:extLst>
              <a:ext uri="{FF2B5EF4-FFF2-40B4-BE49-F238E27FC236}">
                <a16:creationId xmlns:a16="http://schemas.microsoft.com/office/drawing/2014/main" id="{8571C9E2-F9C7-4B8A-979A-ED7F672BF429}"/>
              </a:ext>
            </a:extLst>
          </p:cNvPr>
          <p:cNvCxnSpPr>
            <a:cxnSpLocks/>
            <a:stCxn id="68" idx="3"/>
            <a:endCxn id="82" idx="1"/>
          </p:cNvCxnSpPr>
          <p:nvPr/>
        </p:nvCxnSpPr>
        <p:spPr>
          <a:xfrm>
            <a:off x="9032475" y="2628393"/>
            <a:ext cx="1964420" cy="365389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Cylinder 81">
            <a:extLst>
              <a:ext uri="{FF2B5EF4-FFF2-40B4-BE49-F238E27FC236}">
                <a16:creationId xmlns:a16="http://schemas.microsoft.com/office/drawing/2014/main" id="{5B2E93FF-B27B-4F31-99CE-BA3357DD1696}"/>
              </a:ext>
            </a:extLst>
          </p:cNvPr>
          <p:cNvSpPr/>
          <p:nvPr/>
        </p:nvSpPr>
        <p:spPr>
          <a:xfrm>
            <a:off x="10441868" y="2993782"/>
            <a:ext cx="1110054" cy="789089"/>
          </a:xfrm>
          <a:prstGeom prst="can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/>
              <a:t>Model Registry</a:t>
            </a:r>
          </a:p>
        </p:txBody>
      </p:sp>
      <p:sp>
        <p:nvSpPr>
          <p:cNvPr id="90" name="Flowchart: Direct Access Storage 89">
            <a:extLst>
              <a:ext uri="{FF2B5EF4-FFF2-40B4-BE49-F238E27FC236}">
                <a16:creationId xmlns:a16="http://schemas.microsoft.com/office/drawing/2014/main" id="{C7533852-6B24-4FE6-BEFF-963582096D6D}"/>
              </a:ext>
            </a:extLst>
          </p:cNvPr>
          <p:cNvSpPr/>
          <p:nvPr/>
        </p:nvSpPr>
        <p:spPr>
          <a:xfrm>
            <a:off x="6716075" y="4428077"/>
            <a:ext cx="2792574" cy="494439"/>
          </a:xfrm>
          <a:prstGeom prst="flowChartMagneticDrum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/>
              <a:t>Release Model</a:t>
            </a:r>
          </a:p>
        </p:txBody>
      </p:sp>
      <p:cxnSp>
        <p:nvCxnSpPr>
          <p:cNvPr id="92" name="Connector: Elbow 91">
            <a:extLst>
              <a:ext uri="{FF2B5EF4-FFF2-40B4-BE49-F238E27FC236}">
                <a16:creationId xmlns:a16="http://schemas.microsoft.com/office/drawing/2014/main" id="{234A347F-F7F3-46B1-BC98-E9289126F457}"/>
              </a:ext>
            </a:extLst>
          </p:cNvPr>
          <p:cNvCxnSpPr>
            <a:cxnSpLocks/>
            <a:stCxn id="82" idx="3"/>
            <a:endCxn id="90" idx="4"/>
          </p:cNvCxnSpPr>
          <p:nvPr/>
        </p:nvCxnSpPr>
        <p:spPr>
          <a:xfrm rot="5400000">
            <a:off x="9806559" y="3484961"/>
            <a:ext cx="892426" cy="1488246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>
            <a:extLst>
              <a:ext uri="{FF2B5EF4-FFF2-40B4-BE49-F238E27FC236}">
                <a16:creationId xmlns:a16="http://schemas.microsoft.com/office/drawing/2014/main" id="{86251C70-6E51-494E-8CBA-0A48595208D5}"/>
              </a:ext>
            </a:extLst>
          </p:cNvPr>
          <p:cNvSpPr/>
          <p:nvPr/>
        </p:nvSpPr>
        <p:spPr>
          <a:xfrm>
            <a:off x="6834498" y="5176936"/>
            <a:ext cx="876054" cy="517210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88"/>
              <a:t>Validate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F91D9FF4-2C74-47A6-BAB4-0BBC69839E18}"/>
              </a:ext>
            </a:extLst>
          </p:cNvPr>
          <p:cNvSpPr/>
          <p:nvPr/>
        </p:nvSpPr>
        <p:spPr>
          <a:xfrm>
            <a:off x="9783863" y="5176936"/>
            <a:ext cx="876054" cy="517210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88"/>
              <a:t>Deploy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D9AA38A-F354-4B39-ACE3-1584CC9BDDE5}"/>
              </a:ext>
            </a:extLst>
          </p:cNvPr>
          <p:cNvSpPr/>
          <p:nvPr/>
        </p:nvSpPr>
        <p:spPr>
          <a:xfrm>
            <a:off x="5946580" y="5165960"/>
            <a:ext cx="620535" cy="539981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/>
              <a:t>Package</a:t>
            </a:r>
          </a:p>
        </p:txBody>
      </p: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96B63DC8-1984-44B8-B9F7-42FE83136E98}"/>
              </a:ext>
            </a:extLst>
          </p:cNvPr>
          <p:cNvCxnSpPr>
            <a:cxnSpLocks/>
            <a:stCxn id="96" idx="3"/>
            <a:endCxn id="94" idx="1"/>
          </p:cNvCxnSpPr>
          <p:nvPr/>
        </p:nvCxnSpPr>
        <p:spPr>
          <a:xfrm flipV="1">
            <a:off x="6567115" y="5435541"/>
            <a:ext cx="267383" cy="4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tangle 102">
            <a:extLst>
              <a:ext uri="{FF2B5EF4-FFF2-40B4-BE49-F238E27FC236}">
                <a16:creationId xmlns:a16="http://schemas.microsoft.com/office/drawing/2014/main" id="{0738DEE4-DC47-4B78-A1EE-39B40BB88873}"/>
              </a:ext>
            </a:extLst>
          </p:cNvPr>
          <p:cNvSpPr/>
          <p:nvPr/>
        </p:nvSpPr>
        <p:spPr>
          <a:xfrm>
            <a:off x="7991226" y="5165960"/>
            <a:ext cx="620535" cy="539981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/>
              <a:t>Profile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C0B3CCE2-8E1A-4683-A696-2AA7FFEDEACA}"/>
              </a:ext>
            </a:extLst>
          </p:cNvPr>
          <p:cNvSpPr/>
          <p:nvPr/>
        </p:nvSpPr>
        <p:spPr>
          <a:xfrm>
            <a:off x="8921402" y="5165960"/>
            <a:ext cx="620535" cy="539981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/>
              <a:t>Approve</a:t>
            </a:r>
          </a:p>
        </p:txBody>
      </p: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CAFAB5FD-936F-48F7-A603-0A818A43CB87}"/>
              </a:ext>
            </a:extLst>
          </p:cNvPr>
          <p:cNvCxnSpPr>
            <a:cxnSpLocks/>
            <a:stCxn id="94" idx="3"/>
            <a:endCxn id="103" idx="1"/>
          </p:cNvCxnSpPr>
          <p:nvPr/>
        </p:nvCxnSpPr>
        <p:spPr>
          <a:xfrm>
            <a:off x="7710552" y="5435541"/>
            <a:ext cx="280674" cy="4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72FD8505-04BF-4003-A7AB-94B461FFEB41}"/>
              </a:ext>
            </a:extLst>
          </p:cNvPr>
          <p:cNvCxnSpPr>
            <a:cxnSpLocks/>
            <a:stCxn id="103" idx="3"/>
            <a:endCxn id="104" idx="1"/>
          </p:cNvCxnSpPr>
          <p:nvPr/>
        </p:nvCxnSpPr>
        <p:spPr>
          <a:xfrm>
            <a:off x="8611761" y="5435951"/>
            <a:ext cx="309641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348512B7-FBCF-42E8-9C9F-56C054413A65}"/>
              </a:ext>
            </a:extLst>
          </p:cNvPr>
          <p:cNvCxnSpPr>
            <a:cxnSpLocks/>
            <a:stCxn id="104" idx="3"/>
            <a:endCxn id="95" idx="1"/>
          </p:cNvCxnSpPr>
          <p:nvPr/>
        </p:nvCxnSpPr>
        <p:spPr>
          <a:xfrm flipV="1">
            <a:off x="9541937" y="5435541"/>
            <a:ext cx="241926" cy="4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Cylinder 66">
            <a:extLst>
              <a:ext uri="{FF2B5EF4-FFF2-40B4-BE49-F238E27FC236}">
                <a16:creationId xmlns:a16="http://schemas.microsoft.com/office/drawing/2014/main" id="{13B654F1-CCAA-4D5E-A323-5C0573099D77}"/>
              </a:ext>
            </a:extLst>
          </p:cNvPr>
          <p:cNvSpPr/>
          <p:nvPr/>
        </p:nvSpPr>
        <p:spPr>
          <a:xfrm>
            <a:off x="830385" y="4355554"/>
            <a:ext cx="1479235" cy="1133922"/>
          </a:xfrm>
          <a:prstGeom prst="can">
            <a:avLst/>
          </a:prstGeom>
          <a:solidFill>
            <a:schemeClr val="bg2">
              <a:lumMod val="2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Data Lake</a:t>
            </a:r>
          </a:p>
        </p:txBody>
      </p: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CD987675-BF3B-43D7-962D-27702C40822F}"/>
              </a:ext>
            </a:extLst>
          </p:cNvPr>
          <p:cNvCxnSpPr>
            <a:cxnSpLocks/>
            <a:stCxn id="123" idx="1"/>
            <a:endCxn id="67" idx="3"/>
          </p:cNvCxnSpPr>
          <p:nvPr/>
        </p:nvCxnSpPr>
        <p:spPr>
          <a:xfrm rot="10800000">
            <a:off x="1570003" y="5489477"/>
            <a:ext cx="2470290" cy="515485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F94D4FA7-F935-4269-8B99-7EC27712504C}"/>
              </a:ext>
            </a:extLst>
          </p:cNvPr>
          <p:cNvCxnSpPr>
            <a:cxnSpLocks/>
            <a:stCxn id="67" idx="1"/>
            <a:endCxn id="188" idx="2"/>
          </p:cNvCxnSpPr>
          <p:nvPr/>
        </p:nvCxnSpPr>
        <p:spPr>
          <a:xfrm rot="5400000" flipH="1" flipV="1">
            <a:off x="916336" y="3697847"/>
            <a:ext cx="1311375" cy="404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Cylinder 73">
            <a:extLst>
              <a:ext uri="{FF2B5EF4-FFF2-40B4-BE49-F238E27FC236}">
                <a16:creationId xmlns:a16="http://schemas.microsoft.com/office/drawing/2014/main" id="{6ED620AF-F3FC-44BF-B129-41C16E5E6D3F}"/>
              </a:ext>
            </a:extLst>
          </p:cNvPr>
          <p:cNvSpPr/>
          <p:nvPr/>
        </p:nvSpPr>
        <p:spPr>
          <a:xfrm>
            <a:off x="3224577" y="2299424"/>
            <a:ext cx="1145429" cy="748862"/>
          </a:xfrm>
          <a:prstGeom prst="can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>
                <a:solidFill>
                  <a:schemeClr val="bg1"/>
                </a:solidFill>
              </a:rPr>
              <a:t>Data Catalog</a:t>
            </a:r>
          </a:p>
        </p:txBody>
      </p: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B7518F1E-5603-4767-9AA8-85AD27E35E2C}"/>
              </a:ext>
            </a:extLst>
          </p:cNvPr>
          <p:cNvCxnSpPr>
            <a:cxnSpLocks/>
            <a:stCxn id="74" idx="4"/>
            <a:endCxn id="84" idx="1"/>
          </p:cNvCxnSpPr>
          <p:nvPr/>
        </p:nvCxnSpPr>
        <p:spPr>
          <a:xfrm>
            <a:off x="4370006" y="2673855"/>
            <a:ext cx="324807" cy="4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F1F16E67-3BFD-467E-B1C5-83B09087B691}"/>
              </a:ext>
            </a:extLst>
          </p:cNvPr>
          <p:cNvCxnSpPr>
            <a:cxnSpLocks/>
            <a:stCxn id="33" idx="3"/>
            <a:endCxn id="90" idx="0"/>
          </p:cNvCxnSpPr>
          <p:nvPr/>
        </p:nvCxnSpPr>
        <p:spPr>
          <a:xfrm rot="16200000" flipH="1">
            <a:off x="6525513" y="2841227"/>
            <a:ext cx="243857" cy="292984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88E63D63-FEED-47BD-9A75-9B9A70A1B6BD}"/>
              </a:ext>
            </a:extLst>
          </p:cNvPr>
          <p:cNvSpPr txBox="1"/>
          <p:nvPr/>
        </p:nvSpPr>
        <p:spPr>
          <a:xfrm>
            <a:off x="184587" y="1336098"/>
            <a:ext cx="1298753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400"/>
              <a:t>Data Engineer</a:t>
            </a: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7292014B-B5C6-456F-89C7-A5E2CC54855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rgbClr val="00B05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678" y="505849"/>
            <a:ext cx="780288" cy="780288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3" name="Rectangle 62">
            <a:extLst>
              <a:ext uri="{FF2B5EF4-FFF2-40B4-BE49-F238E27FC236}">
                <a16:creationId xmlns:a16="http://schemas.microsoft.com/office/drawing/2014/main" id="{2BE7A572-5AD7-483E-8CAB-AD2DE213E048}"/>
              </a:ext>
            </a:extLst>
          </p:cNvPr>
          <p:cNvSpPr/>
          <p:nvPr/>
        </p:nvSpPr>
        <p:spPr>
          <a:xfrm>
            <a:off x="6028175" y="2416605"/>
            <a:ext cx="876054" cy="417668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88" err="1"/>
              <a:t>Featurize</a:t>
            </a:r>
            <a:endParaRPr lang="en-US" sz="788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A33B3C0A-BAED-448F-A664-59254E103BB2}"/>
              </a:ext>
            </a:extLst>
          </p:cNvPr>
          <p:cNvSpPr txBox="1"/>
          <p:nvPr/>
        </p:nvSpPr>
        <p:spPr>
          <a:xfrm>
            <a:off x="10364350" y="1282656"/>
            <a:ext cx="1265090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400"/>
              <a:t>Data Scientist</a:t>
            </a: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8877F84C-E5A6-49B6-990E-0865EA61FBF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5555" y="426435"/>
            <a:ext cx="780288" cy="780288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B696532C-1273-4553-AEDA-E56C641CC628}"/>
              </a:ext>
            </a:extLst>
          </p:cNvPr>
          <p:cNvSpPr txBox="1"/>
          <p:nvPr/>
        </p:nvSpPr>
        <p:spPr>
          <a:xfrm>
            <a:off x="10580090" y="4424540"/>
            <a:ext cx="962976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/>
              <a:t>release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4437A8C2-D705-48C3-834C-A516E445C842}"/>
              </a:ext>
            </a:extLst>
          </p:cNvPr>
          <p:cNvSpPr txBox="1"/>
          <p:nvPr/>
        </p:nvSpPr>
        <p:spPr>
          <a:xfrm>
            <a:off x="2069519" y="5804458"/>
            <a:ext cx="962976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/>
              <a:t>collect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F41BB136-8C12-4845-A345-16C4D0CA7CCA}"/>
              </a:ext>
            </a:extLst>
          </p:cNvPr>
          <p:cNvSpPr txBox="1"/>
          <p:nvPr/>
        </p:nvSpPr>
        <p:spPr>
          <a:xfrm>
            <a:off x="4694813" y="2489231"/>
            <a:ext cx="962976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/>
              <a:t>commit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08AA7CD9-C53D-4B6B-9D52-AB53283F47EA}"/>
              </a:ext>
            </a:extLst>
          </p:cNvPr>
          <p:cNvSpPr txBox="1"/>
          <p:nvPr/>
        </p:nvSpPr>
        <p:spPr>
          <a:xfrm>
            <a:off x="4637345" y="4835756"/>
            <a:ext cx="809837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400"/>
              <a:t>DevOps</a:t>
            </a:r>
          </a:p>
        </p:txBody>
      </p:sp>
      <p:pic>
        <p:nvPicPr>
          <p:cNvPr id="87" name="Picture 86">
            <a:extLst>
              <a:ext uri="{FF2B5EF4-FFF2-40B4-BE49-F238E27FC236}">
                <a16:creationId xmlns:a16="http://schemas.microsoft.com/office/drawing/2014/main" id="{4F16EEDD-0511-4EE1-B493-43F4DE39AFC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rgbClr val="7030A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7624" y="4364052"/>
            <a:ext cx="449280" cy="4492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93" name="Connector: Elbow 92">
            <a:extLst>
              <a:ext uri="{FF2B5EF4-FFF2-40B4-BE49-F238E27FC236}">
                <a16:creationId xmlns:a16="http://schemas.microsoft.com/office/drawing/2014/main" id="{E8EBE121-A9DB-45C2-BC45-64B68582F989}"/>
              </a:ext>
            </a:extLst>
          </p:cNvPr>
          <p:cNvCxnSpPr>
            <a:cxnSpLocks/>
            <a:stCxn id="63" idx="3"/>
            <a:endCxn id="62" idx="1"/>
          </p:cNvCxnSpPr>
          <p:nvPr/>
        </p:nvCxnSpPr>
        <p:spPr>
          <a:xfrm>
            <a:off x="6904229" y="2625439"/>
            <a:ext cx="157501" cy="449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E3A3A8F0-F5CC-4C8B-A441-8C87636D96B1}"/>
              </a:ext>
            </a:extLst>
          </p:cNvPr>
          <p:cNvCxnSpPr>
            <a:cxnSpLocks/>
            <a:stCxn id="62" idx="3"/>
            <a:endCxn id="68" idx="1"/>
          </p:cNvCxnSpPr>
          <p:nvPr/>
        </p:nvCxnSpPr>
        <p:spPr>
          <a:xfrm flipV="1">
            <a:off x="7937784" y="2628393"/>
            <a:ext cx="218637" cy="153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>
            <a:extLst>
              <a:ext uri="{FF2B5EF4-FFF2-40B4-BE49-F238E27FC236}">
                <a16:creationId xmlns:a16="http://schemas.microsoft.com/office/drawing/2014/main" id="{B9ED4053-5CFA-4592-ADB5-15012AF91F7E}"/>
              </a:ext>
            </a:extLst>
          </p:cNvPr>
          <p:cNvSpPr txBox="1"/>
          <p:nvPr/>
        </p:nvSpPr>
        <p:spPr>
          <a:xfrm>
            <a:off x="9258914" y="2434321"/>
            <a:ext cx="962976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/>
              <a:t>register</a:t>
            </a:r>
          </a:p>
        </p:txBody>
      </p:sp>
      <p:pic>
        <p:nvPicPr>
          <p:cNvPr id="123" name="Picture 122">
            <a:extLst>
              <a:ext uri="{FF2B5EF4-FFF2-40B4-BE49-F238E27FC236}">
                <a16:creationId xmlns:a16="http://schemas.microsoft.com/office/drawing/2014/main" id="{7C9E7D64-6243-446D-B868-13E64F3965B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40293" y="5550929"/>
            <a:ext cx="908063" cy="908063"/>
          </a:xfrm>
          <a:prstGeom prst="rect">
            <a:avLst/>
          </a:prstGeom>
        </p:spPr>
      </p:pic>
      <p:cxnSp>
        <p:nvCxnSpPr>
          <p:cNvPr id="122" name="Connector: Elbow 121">
            <a:extLst>
              <a:ext uri="{FF2B5EF4-FFF2-40B4-BE49-F238E27FC236}">
                <a16:creationId xmlns:a16="http://schemas.microsoft.com/office/drawing/2014/main" id="{48F79F46-BB44-48AA-A922-DB87E9E48D8A}"/>
              </a:ext>
            </a:extLst>
          </p:cNvPr>
          <p:cNvCxnSpPr>
            <a:cxnSpLocks/>
            <a:stCxn id="90" idx="2"/>
            <a:endCxn id="96" idx="1"/>
          </p:cNvCxnSpPr>
          <p:nvPr/>
        </p:nvCxnSpPr>
        <p:spPr>
          <a:xfrm rot="5400000">
            <a:off x="6772754" y="4096342"/>
            <a:ext cx="513435" cy="2165782"/>
          </a:xfrm>
          <a:prstGeom prst="bentConnector4">
            <a:avLst>
              <a:gd name="adj1" fmla="val 23707"/>
              <a:gd name="adj2" fmla="val 110555"/>
            </a:avLst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Flowchart: Direct Access Storage 187">
            <a:extLst>
              <a:ext uri="{FF2B5EF4-FFF2-40B4-BE49-F238E27FC236}">
                <a16:creationId xmlns:a16="http://schemas.microsoft.com/office/drawing/2014/main" id="{EB263D38-8637-4CF6-BBDB-0C88B9017480}"/>
              </a:ext>
            </a:extLst>
          </p:cNvPr>
          <p:cNvSpPr/>
          <p:nvPr/>
        </p:nvSpPr>
        <p:spPr>
          <a:xfrm>
            <a:off x="184587" y="2478563"/>
            <a:ext cx="2778914" cy="565616"/>
          </a:xfrm>
          <a:prstGeom prst="flowChartMagneticDrum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chemeClr val="bg1"/>
                </a:solidFill>
              </a:rPr>
              <a:t>Prepare Data</a:t>
            </a:r>
          </a:p>
        </p:txBody>
      </p:sp>
      <p:pic>
        <p:nvPicPr>
          <p:cNvPr id="5" name="Picture 4" descr="A picture containing object&#10;&#10;Description automatically generated">
            <a:extLst>
              <a:ext uri="{FF2B5EF4-FFF2-40B4-BE49-F238E27FC236}">
                <a16:creationId xmlns:a16="http://schemas.microsoft.com/office/drawing/2014/main" id="{B8A6B9D0-4A52-48EA-ADF4-84213EB3D60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7753" y="6173790"/>
            <a:ext cx="3101889" cy="40872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D732467-ED39-4728-810E-946EEBDB1DD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0418" y="1311170"/>
            <a:ext cx="292861" cy="315389"/>
          </a:xfrm>
          <a:prstGeom prst="rect">
            <a:avLst/>
          </a:prstGeom>
        </p:spPr>
      </p:pic>
      <p:pic>
        <p:nvPicPr>
          <p:cNvPr id="1028" name="Picture 4" descr="Image result for azure data factory">
            <a:extLst>
              <a:ext uri="{FF2B5EF4-FFF2-40B4-BE49-F238E27FC236}">
                <a16:creationId xmlns:a16="http://schemas.microsoft.com/office/drawing/2014/main" id="{5193FDCB-2A5C-4283-AF37-36C212B8D4D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16" t="26004" r="58722" b="27951"/>
          <a:stretch/>
        </p:blipFill>
        <p:spPr bwMode="auto">
          <a:xfrm>
            <a:off x="219729" y="1920900"/>
            <a:ext cx="489734" cy="460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4E5FA5C-D458-4F7E-A8A4-A3013C372D08}"/>
              </a:ext>
            </a:extLst>
          </p:cNvPr>
          <p:cNvSpPr txBox="1"/>
          <p:nvPr/>
        </p:nvSpPr>
        <p:spPr>
          <a:xfrm>
            <a:off x="833963" y="2083980"/>
            <a:ext cx="260282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b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zure Data Factory</a:t>
            </a:r>
          </a:p>
        </p:txBody>
      </p:sp>
      <p:cxnSp>
        <p:nvCxnSpPr>
          <p:cNvPr id="105" name="Connector: Elbow 104">
            <a:extLst>
              <a:ext uri="{FF2B5EF4-FFF2-40B4-BE49-F238E27FC236}">
                <a16:creationId xmlns:a16="http://schemas.microsoft.com/office/drawing/2014/main" id="{6E5213A2-CC09-47D4-A12F-2655F9E9C2C6}"/>
              </a:ext>
            </a:extLst>
          </p:cNvPr>
          <p:cNvCxnSpPr>
            <a:cxnSpLocks/>
            <a:stCxn id="188" idx="4"/>
            <a:endCxn id="74" idx="2"/>
          </p:cNvCxnSpPr>
          <p:nvPr/>
        </p:nvCxnSpPr>
        <p:spPr>
          <a:xfrm flipV="1">
            <a:off x="2963501" y="2673855"/>
            <a:ext cx="261076" cy="8751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Box 107">
            <a:extLst>
              <a:ext uri="{FF2B5EF4-FFF2-40B4-BE49-F238E27FC236}">
                <a16:creationId xmlns:a16="http://schemas.microsoft.com/office/drawing/2014/main" id="{CAD26E92-CD06-4330-B9E9-D0F875AC82BF}"/>
              </a:ext>
            </a:extLst>
          </p:cNvPr>
          <p:cNvSpPr txBox="1"/>
          <p:nvPr/>
        </p:nvSpPr>
        <p:spPr>
          <a:xfrm>
            <a:off x="6550714" y="1374989"/>
            <a:ext cx="260282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b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zure Machine Learning</a:t>
            </a:r>
          </a:p>
        </p:txBody>
      </p:sp>
      <p:cxnSp>
        <p:nvCxnSpPr>
          <p:cNvPr id="161" name="Connector: Elbow 160">
            <a:extLst>
              <a:ext uri="{FF2B5EF4-FFF2-40B4-BE49-F238E27FC236}">
                <a16:creationId xmlns:a16="http://schemas.microsoft.com/office/drawing/2014/main" id="{C7027A32-15DD-40D5-B514-A4042995F8A3}"/>
              </a:ext>
            </a:extLst>
          </p:cNvPr>
          <p:cNvCxnSpPr>
            <a:cxnSpLocks/>
            <a:stCxn id="95" idx="3"/>
            <a:endCxn id="123" idx="3"/>
          </p:cNvCxnSpPr>
          <p:nvPr/>
        </p:nvCxnSpPr>
        <p:spPr>
          <a:xfrm flipH="1">
            <a:off x="4948356" y="5435541"/>
            <a:ext cx="5711561" cy="569420"/>
          </a:xfrm>
          <a:prstGeom prst="bentConnector3">
            <a:avLst>
              <a:gd name="adj1" fmla="val -4002"/>
            </a:avLst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Title 1">
            <a:extLst>
              <a:ext uri="{FF2B5EF4-FFF2-40B4-BE49-F238E27FC236}">
                <a16:creationId xmlns:a16="http://schemas.microsoft.com/office/drawing/2014/main" id="{72BF8278-1864-4F59-A04A-0D25CC4DE502}"/>
              </a:ext>
            </a:extLst>
          </p:cNvPr>
          <p:cNvSpPr txBox="1">
            <a:spLocks/>
          </p:cNvSpPr>
          <p:nvPr/>
        </p:nvSpPr>
        <p:spPr>
          <a:xfrm>
            <a:off x="338303" y="184129"/>
            <a:ext cx="11018520" cy="553998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/>
              <a:t>MLOps Process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16D13E82-4778-472E-A419-03FCA06D4D7B}"/>
              </a:ext>
            </a:extLst>
          </p:cNvPr>
          <p:cNvSpPr txBox="1"/>
          <p:nvPr/>
        </p:nvSpPr>
        <p:spPr>
          <a:xfrm>
            <a:off x="2550747" y="791222"/>
            <a:ext cx="659363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nterprise ready machine learning development</a:t>
            </a:r>
          </a:p>
        </p:txBody>
      </p:sp>
    </p:spTree>
    <p:extLst>
      <p:ext uri="{BB962C8B-B14F-4D97-AF65-F5344CB8AC3E}">
        <p14:creationId xmlns:p14="http://schemas.microsoft.com/office/powerpoint/2010/main" val="158623584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/>
      <p:bldP spid="66" grpId="0"/>
      <p:bldP spid="8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E869D7-86CF-4DA6-A7FD-F516BC3C5E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1106681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B380E94-354F-4267-87B1-74FFAAD7EE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084173"/>
            <a:ext cx="11653523" cy="1270476"/>
          </a:xfrm>
        </p:spPr>
        <p:txBody>
          <a:bodyPr/>
          <a:lstStyle/>
          <a:p>
            <a:r>
              <a:rPr lang="en-US"/>
              <a:t>Model Deployment on Azure</a:t>
            </a: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19C2630A-6914-4FED-970C-42398C9CCE8B}"/>
              </a:ext>
            </a:extLst>
          </p:cNvPr>
          <p:cNvSpPr txBox="1">
            <a:spLocks/>
          </p:cNvSpPr>
          <p:nvPr/>
        </p:nvSpPr>
        <p:spPr>
          <a:xfrm>
            <a:off x="269238" y="3264813"/>
            <a:ext cx="11653523" cy="861774"/>
          </a:xfrm>
          <a:prstGeom prst="rect">
            <a:avLst/>
          </a:prstGeom>
          <a:noFill/>
        </p:spPr>
        <p:txBody>
          <a:bodyPr vert="horz" wrap="square" lIns="0" tIns="91440" rIns="0" bIns="91440" rtlCol="0" anchor="t" anchorCtr="0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7056" b="1" kern="1200" cap="none" spc="-99" baseline="0">
                <a:ln w="3175">
                  <a:noFill/>
                </a:ln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4400">
                <a:latin typeface="Segoe UI Light" panose="020B0502040204020203" pitchFamily="34" charset="0"/>
                <a:cs typeface="Segoe UI Light" panose="020B0502040204020203" pitchFamily="34" charset="0"/>
              </a:rPr>
              <a:t>Azure Machine Learning + Azure DevOps</a:t>
            </a:r>
          </a:p>
        </p:txBody>
      </p:sp>
    </p:spTree>
    <p:extLst>
      <p:ext uri="{BB962C8B-B14F-4D97-AF65-F5344CB8AC3E}">
        <p14:creationId xmlns:p14="http://schemas.microsoft.com/office/powerpoint/2010/main" val="3912298642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Online Image Placeholder 6" descr="A picture containing screenshot&#10;&#10;Description generated with very high confidence">
            <a:extLst>
              <a:ext uri="{FF2B5EF4-FFF2-40B4-BE49-F238E27FC236}">
                <a16:creationId xmlns:a16="http://schemas.microsoft.com/office/drawing/2014/main" id="{A3D64055-A09B-46D7-B9A9-6B087799FC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795" y="668869"/>
            <a:ext cx="7320206" cy="6077153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95D34CA-2892-4FF4-9588-C6A3582963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6379" y="953668"/>
            <a:ext cx="5119371" cy="805452"/>
          </a:xfrm>
        </p:spPr>
        <p:txBody>
          <a:bodyPr vert="horz" wrap="square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GB" sz="1568">
                <a:solidFill>
                  <a:schemeClr val="tx1">
                    <a:lumMod val="65000"/>
                    <a:lumOff val="35000"/>
                  </a:schemeClr>
                </a:solidFill>
              </a:rPr>
              <a:t>Cloud-hosted pipelines for Linux, Windows and macOS.</a:t>
            </a:r>
            <a:endParaRPr lang="en-US" sz="1568">
              <a:solidFill>
                <a:schemeClr val="tx1">
                  <a:lumMod val="65000"/>
                  <a:lumOff val="35000"/>
                </a:schemeClr>
              </a:solidFill>
              <a:cs typeface="Segoe UI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A6A65AD-43AA-423E-8D08-19A36B5745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425" y="223039"/>
            <a:ext cx="11336039" cy="739238"/>
          </a:xfrm>
        </p:spPr>
        <p:txBody>
          <a:bodyPr/>
          <a:lstStyle/>
          <a:p>
            <a:r>
              <a:rPr lang="en-US">
                <a:solidFill>
                  <a:srgbClr val="2C65E1"/>
                </a:solidFill>
              </a:rPr>
              <a:t>Azure DevOps Pipelin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C232096-55FE-485C-9396-51DF7060CD86}"/>
              </a:ext>
            </a:extLst>
          </p:cNvPr>
          <p:cNvGrpSpPr/>
          <p:nvPr/>
        </p:nvGrpSpPr>
        <p:grpSpPr>
          <a:xfrm>
            <a:off x="436378" y="1825285"/>
            <a:ext cx="5025781" cy="1325042"/>
            <a:chOff x="445128" y="1690638"/>
            <a:chExt cx="5126558" cy="1351612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3303B4F4-BD54-418F-ABEC-9DA56768EB4B}"/>
                </a:ext>
              </a:extLst>
            </p:cNvPr>
            <p:cNvSpPr/>
            <p:nvPr/>
          </p:nvSpPr>
          <p:spPr bwMode="auto">
            <a:xfrm>
              <a:off x="445128" y="1731691"/>
              <a:ext cx="555298" cy="555298"/>
            </a:xfrm>
            <a:prstGeom prst="ellipse">
              <a:avLst/>
            </a:prstGeom>
            <a:solidFill>
              <a:srgbClr val="EAEAE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C90A02D-FA22-4D75-8262-E67026C3F459}"/>
                </a:ext>
              </a:extLst>
            </p:cNvPr>
            <p:cNvSpPr txBox="1"/>
            <p:nvPr/>
          </p:nvSpPr>
          <p:spPr>
            <a:xfrm>
              <a:off x="1065722" y="1690638"/>
              <a:ext cx="4505964" cy="5447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Any language, any platform, any cloud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67D699B-D6CA-484D-9DCC-8760B5AE64AE}"/>
                </a:ext>
              </a:extLst>
            </p:cNvPr>
            <p:cNvSpPr txBox="1"/>
            <p:nvPr/>
          </p:nvSpPr>
          <p:spPr>
            <a:xfrm>
              <a:off x="1065722" y="2008121"/>
              <a:ext cx="3975020" cy="1034129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176">
                  <a:solidFill>
                    <a:srgbClr val="595959"/>
                  </a:solidFill>
                </a:rPr>
                <a:t>Build, test, and deploy Node.js, Python,  Java, PHP, Ruby, C/C++, .NET, Android, and iOS apps. Run in parallel on Linux, macOS, and Windows.  Deploy to Azure, AWS, GCP or on-premises</a:t>
              </a:r>
            </a:p>
          </p:txBody>
        </p:sp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00E8F52D-C4CC-4645-A09C-A5C2D2D471F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51328" y="1836754"/>
              <a:ext cx="342900" cy="325755"/>
            </a:xfrm>
            <a:prstGeom prst="rect">
              <a:avLst/>
            </a:prstGeom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7E1109A4-FFA7-4A22-A9BA-27D765A83C78}"/>
              </a:ext>
            </a:extLst>
          </p:cNvPr>
          <p:cNvGrpSpPr/>
          <p:nvPr/>
        </p:nvGrpSpPr>
        <p:grpSpPr>
          <a:xfrm>
            <a:off x="436378" y="3322554"/>
            <a:ext cx="4505274" cy="1311235"/>
            <a:chOff x="445128" y="2867778"/>
            <a:chExt cx="4595614" cy="1337528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FFDB50A0-8DD6-48CA-80CD-8F55978146FF}"/>
                </a:ext>
              </a:extLst>
            </p:cNvPr>
            <p:cNvSpPr/>
            <p:nvPr/>
          </p:nvSpPr>
          <p:spPr bwMode="auto">
            <a:xfrm>
              <a:off x="445128" y="2867778"/>
              <a:ext cx="555298" cy="555298"/>
            </a:xfrm>
            <a:prstGeom prst="ellipse">
              <a:avLst/>
            </a:prstGeom>
            <a:solidFill>
              <a:srgbClr val="EAEAE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306CDB6-E465-4A41-B520-9DC0AC0600BC}"/>
                </a:ext>
              </a:extLst>
            </p:cNvPr>
            <p:cNvSpPr txBox="1"/>
            <p:nvPr/>
          </p:nvSpPr>
          <p:spPr>
            <a:xfrm>
              <a:off x="1065722" y="2874960"/>
              <a:ext cx="3656707" cy="5447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Extensible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8F696DB-EE80-40C9-9008-6142F73C1492}"/>
                </a:ext>
              </a:extLst>
            </p:cNvPr>
            <p:cNvSpPr txBox="1"/>
            <p:nvPr/>
          </p:nvSpPr>
          <p:spPr>
            <a:xfrm>
              <a:off x="1065722" y="3171177"/>
              <a:ext cx="3975020" cy="1034129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GB" sz="1176">
                  <a:solidFill>
                    <a:srgbClr val="595959"/>
                  </a:solidFill>
                </a:rPr>
                <a:t>Explore and implement a wide range of community-built build, test, and deployment tasks, along with hundreds of extensions from Slack to </a:t>
              </a:r>
              <a:r>
                <a:rPr lang="en-GB" sz="1176" err="1">
                  <a:solidFill>
                    <a:srgbClr val="595959"/>
                  </a:solidFill>
                </a:rPr>
                <a:t>SonarCloud</a:t>
              </a:r>
              <a:r>
                <a:rPr lang="en-GB" sz="1176">
                  <a:solidFill>
                    <a:srgbClr val="595959"/>
                  </a:solidFill>
                </a:rPr>
                <a:t>. Support for YAML, reporting and more</a:t>
              </a:r>
            </a:p>
          </p:txBody>
        </p:sp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0BDC9036-025D-43F9-AA73-A887588652A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58636" y="2973977"/>
              <a:ext cx="285750" cy="3429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AA46A84B-B8E4-4BA1-AC7D-E897B15A1499}"/>
              </a:ext>
            </a:extLst>
          </p:cNvPr>
          <p:cNvGrpSpPr/>
          <p:nvPr/>
        </p:nvGrpSpPr>
        <p:grpSpPr>
          <a:xfrm>
            <a:off x="436380" y="4662260"/>
            <a:ext cx="4505273" cy="1112735"/>
            <a:chOff x="445129" y="4755247"/>
            <a:chExt cx="4595613" cy="1135047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28969C80-65DA-4231-83DC-5638E0C213C6}"/>
                </a:ext>
              </a:extLst>
            </p:cNvPr>
            <p:cNvSpPr/>
            <p:nvPr/>
          </p:nvSpPr>
          <p:spPr bwMode="auto">
            <a:xfrm>
              <a:off x="445129" y="4791277"/>
              <a:ext cx="555298" cy="555298"/>
            </a:xfrm>
            <a:prstGeom prst="ellipse">
              <a:avLst/>
            </a:prstGeom>
            <a:solidFill>
              <a:srgbClr val="EAEAE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446C7CC-67CB-4D25-A20A-694A6E1F21D8}"/>
                </a:ext>
              </a:extLst>
            </p:cNvPr>
            <p:cNvSpPr txBox="1"/>
            <p:nvPr/>
          </p:nvSpPr>
          <p:spPr>
            <a:xfrm>
              <a:off x="1065722" y="4755247"/>
              <a:ext cx="3656707" cy="5447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Containers and Kubernetes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C7FD4636-4259-4145-9391-F318DE7B8336}"/>
                </a:ext>
              </a:extLst>
            </p:cNvPr>
            <p:cNvSpPr txBox="1"/>
            <p:nvPr/>
          </p:nvSpPr>
          <p:spPr>
            <a:xfrm>
              <a:off x="1065722" y="5040831"/>
              <a:ext cx="3975020" cy="849463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GB" sz="1176">
                  <a:solidFill>
                    <a:srgbClr val="595959"/>
                  </a:solidFill>
                </a:rPr>
                <a:t>Easily build and push images to container registries like Docker Hub and Azure Container Registry. Deploy containers to individual hosts or Kubernetes.</a:t>
              </a:r>
              <a:endParaRPr lang="en-US" sz="1176">
                <a:solidFill>
                  <a:srgbClr val="595959"/>
                </a:solidFill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ABF23BC7-1AA2-4459-BE12-18A85FDCC87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51328" y="4890781"/>
              <a:ext cx="342900" cy="342900"/>
            </a:xfrm>
            <a:prstGeom prst="rect">
              <a:avLst/>
            </a:prstGeom>
          </p:spPr>
        </p:pic>
      </p:grp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23EC78E9-A3F5-4292-B3B0-3F15A3B65F2D}"/>
              </a:ext>
            </a:extLst>
          </p:cNvPr>
          <p:cNvSpPr txBox="1">
            <a:spLocks/>
          </p:cNvSpPr>
          <p:nvPr/>
        </p:nvSpPr>
        <p:spPr>
          <a:xfrm>
            <a:off x="970468" y="6198992"/>
            <a:ext cx="3807664" cy="30172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67">
              <a:buNone/>
              <a:defRPr/>
            </a:pPr>
            <a:r>
              <a:rPr lang="en-US" sz="1961" b="1">
                <a:solidFill>
                  <a:srgbClr val="2C65E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https://azure.com/pipelines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A794CA63-381B-4EF5-93F4-3262C5613026}"/>
              </a:ext>
            </a:extLst>
          </p:cNvPr>
          <p:cNvSpPr/>
          <p:nvPr/>
        </p:nvSpPr>
        <p:spPr bwMode="auto">
          <a:xfrm>
            <a:off x="400017" y="6137918"/>
            <a:ext cx="420039" cy="420037"/>
          </a:xfrm>
          <a:prstGeom prst="ellipse">
            <a:avLst/>
          </a:prstGeom>
          <a:noFill/>
          <a:ln w="28575" cap="flat" cmpd="sng" algn="ctr">
            <a:solidFill>
              <a:srgbClr val="2C65E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kern="0">
                <a:ln w="19050">
                  <a:noFill/>
                </a:ln>
                <a:solidFill>
                  <a:srgbClr val="2C65E1"/>
                </a:solidFill>
                <a:latin typeface="Segoe UI"/>
                <a:ea typeface="Segoe UI" pitchFamily="34" charset="0"/>
                <a:cs typeface="Segoe UI" pitchFamily="34" charset="0"/>
                <a:sym typeface="Wingdings" panose="05000000000000000000" pitchFamily="2" charset="2"/>
              </a:rPr>
              <a:t></a:t>
            </a:r>
            <a:endParaRPr lang="en-US" sz="1961" kern="0">
              <a:ln w="19050">
                <a:noFill/>
              </a:ln>
              <a:solidFill>
                <a:srgbClr val="2C65E1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6" name="Online Image Placeholder 15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ABB99AEE-D0DA-4872-AD88-E593AF1F70C9}"/>
              </a:ext>
            </a:extLst>
          </p:cNvPr>
          <p:cNvPicPr>
            <a:picLocks noGrp="1" noChangeAspect="1"/>
          </p:cNvPicPr>
          <p:nvPr>
            <p:ph type="clipArt" sz="quarter" idx="11"/>
          </p:nvPr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127"/>
          <a:stretch/>
        </p:blipFill>
        <p:spPr>
          <a:xfrm>
            <a:off x="6151992" y="1516281"/>
            <a:ext cx="6040009" cy="4345444"/>
          </a:xfrm>
        </p:spPr>
      </p:pic>
    </p:spTree>
    <p:extLst>
      <p:ext uri="{BB962C8B-B14F-4D97-AF65-F5344CB8AC3E}">
        <p14:creationId xmlns:p14="http://schemas.microsoft.com/office/powerpoint/2010/main" val="223852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428027-27DF-4C2B-97E0-864BEBCE74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zure DevOps + Azure ML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64E50C2-D7DC-419B-B392-F7A7B54FB8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3762" y="1472640"/>
            <a:ext cx="8328338" cy="49281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B1E4F03-DBF2-4970-9C11-DD265C65B5E8}"/>
              </a:ext>
            </a:extLst>
          </p:cNvPr>
          <p:cNvSpPr txBox="1"/>
          <p:nvPr/>
        </p:nvSpPr>
        <p:spPr>
          <a:xfrm>
            <a:off x="647272" y="1597631"/>
            <a:ext cx="2609636" cy="40010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rigger release pipelines on model registration</a:t>
            </a:r>
          </a:p>
          <a:p>
            <a:pPr algn="l"/>
            <a:endParaRPr lang="en-US" sz="200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l"/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Use Azure DevOps + Azure ML CLI to manage E2E release flow</a:t>
            </a:r>
          </a:p>
          <a:p>
            <a:pPr algn="l"/>
            <a:endParaRPr lang="en-US" sz="200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l"/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everage Azure DevOps approvals for controlling application rollout</a:t>
            </a:r>
          </a:p>
        </p:txBody>
      </p:sp>
    </p:spTree>
    <p:extLst>
      <p:ext uri="{BB962C8B-B14F-4D97-AF65-F5344CB8AC3E}">
        <p14:creationId xmlns:p14="http://schemas.microsoft.com/office/powerpoint/2010/main" val="603995329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13BB175-41B6-45D3-95E5-24250B296B60}"/>
              </a:ext>
            </a:extLst>
          </p:cNvPr>
          <p:cNvSpPr/>
          <p:nvPr/>
        </p:nvSpPr>
        <p:spPr bwMode="auto">
          <a:xfrm>
            <a:off x="346746" y="1311585"/>
            <a:ext cx="11530049" cy="5183128"/>
          </a:xfrm>
          <a:prstGeom prst="rect">
            <a:avLst/>
          </a:prstGeom>
          <a:noFill/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02C3C1E0-2826-7447-91EE-89324EAD51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Machine Learning on Azure</a:t>
            </a:r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A7B2ED44-6B8B-A74D-B36D-A8A70DCCE1A1}"/>
              </a:ext>
            </a:extLst>
          </p:cNvPr>
          <p:cNvSpPr/>
          <p:nvPr/>
        </p:nvSpPr>
        <p:spPr bwMode="auto">
          <a:xfrm>
            <a:off x="6954243" y="1463012"/>
            <a:ext cx="4749323" cy="479210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17" name="Rectangle 316">
            <a:extLst>
              <a:ext uri="{FF2B5EF4-FFF2-40B4-BE49-F238E27FC236}">
                <a16:creationId xmlns:a16="http://schemas.microsoft.com/office/drawing/2014/main" id="{239B91CB-5D3A-E142-8F71-2D9AF9D1793A}"/>
              </a:ext>
            </a:extLst>
          </p:cNvPr>
          <p:cNvSpPr/>
          <p:nvPr/>
        </p:nvSpPr>
        <p:spPr bwMode="auto">
          <a:xfrm>
            <a:off x="529598" y="1463014"/>
            <a:ext cx="6424647" cy="8441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black"/>
                </a:solidFill>
                <a:latin typeface="Segoe UI Semibold"/>
                <a:ea typeface="Segoe UI" pitchFamily="34" charset="0"/>
                <a:cs typeface="Segoe UI" pitchFamily="34" charset="0"/>
              </a:rPr>
              <a:t>Domain specific pretrained m</a:t>
            </a:r>
            <a:r>
              <a:rPr lang="en-US" b="1" err="1">
                <a:solidFill>
                  <a:prstClr val="black"/>
                </a:solidFill>
                <a:latin typeface="Segoe UI Semibold"/>
                <a:ea typeface="Segoe UI" pitchFamily="34" charset="0"/>
                <a:cs typeface="Segoe UI" pitchFamily="34" charset="0"/>
              </a:rPr>
              <a:t>odels</a:t>
            </a:r>
            <a:endParaRPr lang="en-US" b="1">
              <a:solidFill>
                <a:prstClr val="black"/>
              </a:solidFill>
              <a:latin typeface="Segoe UI Semibold"/>
              <a:ea typeface="Segoe UI" pitchFamily="34" charset="0"/>
              <a:cs typeface="Segoe UI" pitchFamily="34" charset="0"/>
            </a:endParaRPr>
          </a:p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prstClr val="black"/>
                </a:solidFill>
                <a:latin typeface="Segoe UI"/>
                <a:cs typeface="Segoe UI" pitchFamily="34" charset="0"/>
              </a:rPr>
              <a:t>To simplify solution development</a:t>
            </a:r>
          </a:p>
        </p:txBody>
      </p:sp>
      <p:sp>
        <p:nvSpPr>
          <p:cNvPr id="321" name="Rectangle 320">
            <a:extLst>
              <a:ext uri="{FF2B5EF4-FFF2-40B4-BE49-F238E27FC236}">
                <a16:creationId xmlns:a16="http://schemas.microsoft.com/office/drawing/2014/main" id="{13D0504A-42BC-5A4B-8648-6844A504921E}"/>
              </a:ext>
            </a:extLst>
          </p:cNvPr>
          <p:cNvSpPr/>
          <p:nvPr/>
        </p:nvSpPr>
        <p:spPr bwMode="auto">
          <a:xfrm>
            <a:off x="529597" y="3399150"/>
            <a:ext cx="6423223" cy="8441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black"/>
                </a:solidFill>
                <a:latin typeface="Segoe UI Semibold"/>
                <a:ea typeface="Segoe UI" pitchFamily="34" charset="0"/>
                <a:cs typeface="Segoe UI" pitchFamily="34" charset="0"/>
              </a:rPr>
              <a:t>Popular frameworks</a:t>
            </a:r>
          </a:p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prstClr val="black"/>
                </a:solidFill>
                <a:latin typeface="Segoe UI"/>
                <a:cs typeface="Segoe UI" pitchFamily="34" charset="0"/>
              </a:rPr>
              <a:t>To build advanced deep learning solutions </a:t>
            </a:r>
          </a:p>
        </p:txBody>
      </p:sp>
      <p:sp>
        <p:nvSpPr>
          <p:cNvPr id="334" name="Rectangle 333">
            <a:extLst>
              <a:ext uri="{FF2B5EF4-FFF2-40B4-BE49-F238E27FC236}">
                <a16:creationId xmlns:a16="http://schemas.microsoft.com/office/drawing/2014/main" id="{46DA568B-82DD-DD49-8430-542C3691E65A}"/>
              </a:ext>
            </a:extLst>
          </p:cNvPr>
          <p:cNvSpPr/>
          <p:nvPr/>
        </p:nvSpPr>
        <p:spPr bwMode="auto">
          <a:xfrm>
            <a:off x="509502" y="4399533"/>
            <a:ext cx="6423223" cy="8441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black"/>
                </a:solidFill>
                <a:latin typeface="Segoe UI Semibold"/>
                <a:ea typeface="Segoe UI" pitchFamily="34" charset="0"/>
                <a:cs typeface="Segoe UI" pitchFamily="34" charset="0"/>
              </a:rPr>
              <a:t>Productive services</a:t>
            </a:r>
          </a:p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prstClr val="black"/>
                </a:solidFill>
                <a:latin typeface="Segoe UI"/>
                <a:cs typeface="Segoe UI" pitchFamily="34" charset="0"/>
              </a:rPr>
              <a:t>To empower data science and development teams</a:t>
            </a:r>
          </a:p>
        </p:txBody>
      </p:sp>
      <p:sp>
        <p:nvSpPr>
          <p:cNvPr id="335" name="Rectangle 334">
            <a:extLst>
              <a:ext uri="{FF2B5EF4-FFF2-40B4-BE49-F238E27FC236}">
                <a16:creationId xmlns:a16="http://schemas.microsoft.com/office/drawing/2014/main" id="{9860EE4C-580D-D84F-B598-C8DE0840A227}"/>
              </a:ext>
            </a:extLst>
          </p:cNvPr>
          <p:cNvSpPr/>
          <p:nvPr/>
        </p:nvSpPr>
        <p:spPr bwMode="auto">
          <a:xfrm>
            <a:off x="510877" y="5410926"/>
            <a:ext cx="6423223" cy="8441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black"/>
                </a:solidFill>
                <a:latin typeface="Segoe UI Semibold"/>
                <a:ea typeface="Segoe UI" pitchFamily="34" charset="0"/>
                <a:cs typeface="Segoe UI" pitchFamily="34" charset="0"/>
              </a:rPr>
              <a:t>Powerful infrastructure</a:t>
            </a:r>
          </a:p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prstClr val="black"/>
                </a:solidFill>
                <a:latin typeface="Segoe UI"/>
                <a:cs typeface="Segoe UI" pitchFamily="34" charset="0"/>
              </a:rPr>
              <a:t>To accelerate deep learning</a:t>
            </a:r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2DB9A04C-4C29-B449-93D3-887CE39C4AB3}"/>
              </a:ext>
            </a:extLst>
          </p:cNvPr>
          <p:cNvSpPr/>
          <p:nvPr/>
        </p:nvSpPr>
        <p:spPr bwMode="auto">
          <a:xfrm>
            <a:off x="524118" y="2428414"/>
            <a:ext cx="6423223" cy="8441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black"/>
                </a:solidFill>
                <a:latin typeface="Segoe UI Semibold"/>
                <a:ea typeface="Segoe UI" pitchFamily="34" charset="0"/>
                <a:cs typeface="Segoe UI" pitchFamily="34" charset="0"/>
              </a:rPr>
              <a:t>Familiar Data Science tools</a:t>
            </a:r>
          </a:p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prstClr val="black"/>
                </a:solidFill>
                <a:latin typeface="Segoe UI"/>
                <a:cs typeface="Segoe UI" pitchFamily="34" charset="0"/>
              </a:rPr>
              <a:t>To simplify model development </a:t>
            </a:r>
          </a:p>
        </p:txBody>
      </p: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178B6889-888C-0D40-B490-E14DC9849763}"/>
              </a:ext>
            </a:extLst>
          </p:cNvPr>
          <p:cNvCxnSpPr>
            <a:cxnSpLocks/>
          </p:cNvCxnSpPr>
          <p:nvPr/>
        </p:nvCxnSpPr>
        <p:spPr>
          <a:xfrm>
            <a:off x="526597" y="2360703"/>
            <a:ext cx="11176969" cy="0"/>
          </a:xfrm>
          <a:prstGeom prst="line">
            <a:avLst/>
          </a:prstGeom>
          <a:noFill/>
          <a:ln w="15875" cap="rnd" cmpd="sng" algn="ctr">
            <a:solidFill>
              <a:srgbClr val="D9D9D9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FED9CEDB-044D-8143-BA2D-06C67494C87C}"/>
              </a:ext>
            </a:extLst>
          </p:cNvPr>
          <p:cNvCxnSpPr>
            <a:cxnSpLocks/>
          </p:cNvCxnSpPr>
          <p:nvPr/>
        </p:nvCxnSpPr>
        <p:spPr>
          <a:xfrm>
            <a:off x="526597" y="3349579"/>
            <a:ext cx="11176969" cy="0"/>
          </a:xfrm>
          <a:prstGeom prst="line">
            <a:avLst/>
          </a:prstGeom>
          <a:noFill/>
          <a:ln w="15875" cap="rnd" cmpd="sng" algn="ctr">
            <a:solidFill>
              <a:sysClr val="window" lastClr="FFFFFF">
                <a:lumMod val="85000"/>
              </a:sysClr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A107D106-AE8A-6749-8F47-252830B81E2C}"/>
              </a:ext>
            </a:extLst>
          </p:cNvPr>
          <p:cNvCxnSpPr>
            <a:cxnSpLocks/>
          </p:cNvCxnSpPr>
          <p:nvPr/>
        </p:nvCxnSpPr>
        <p:spPr>
          <a:xfrm>
            <a:off x="526597" y="5327328"/>
            <a:ext cx="11176969" cy="0"/>
          </a:xfrm>
          <a:prstGeom prst="line">
            <a:avLst/>
          </a:prstGeom>
          <a:noFill/>
          <a:ln w="15875" cap="rnd" cmpd="sng" algn="ctr">
            <a:solidFill>
              <a:sysClr val="window" lastClr="FFFFFF">
                <a:lumMod val="85000"/>
              </a:sysClr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E5584A0E-3398-2F42-A0A8-57A0B927E89B}"/>
              </a:ext>
            </a:extLst>
          </p:cNvPr>
          <p:cNvCxnSpPr>
            <a:cxnSpLocks/>
          </p:cNvCxnSpPr>
          <p:nvPr/>
        </p:nvCxnSpPr>
        <p:spPr>
          <a:xfrm>
            <a:off x="526597" y="4338453"/>
            <a:ext cx="11176969" cy="0"/>
          </a:xfrm>
          <a:prstGeom prst="line">
            <a:avLst/>
          </a:prstGeom>
          <a:noFill/>
          <a:ln w="15875" cap="rnd" cmpd="sng" algn="ctr">
            <a:solidFill>
              <a:sysClr val="window" lastClr="FFFFFF">
                <a:lumMod val="85000"/>
              </a:sysClr>
            </a:solidFill>
            <a:prstDash val="solid"/>
            <a:headEnd type="none"/>
            <a:tailEnd type="none"/>
          </a:ln>
          <a:effectLst/>
        </p:spPr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C93AC34D-818E-4EDC-95C6-94BCC080C8DA}"/>
              </a:ext>
            </a:extLst>
          </p:cNvPr>
          <p:cNvSpPr txBox="1"/>
          <p:nvPr/>
        </p:nvSpPr>
        <p:spPr>
          <a:xfrm>
            <a:off x="3888921" y="6351598"/>
            <a:ext cx="5289147" cy="286232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400">
                <a:solidFill>
                  <a:prstClr val="black"/>
                </a:solidFill>
                <a:latin typeface="Segoe UI"/>
                <a:cs typeface="Segoe UI" pitchFamily="34" charset="0"/>
              </a:rPr>
              <a:t>From the Intelligent Cloud to the Intelligent Edge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C203AD22-959A-4177-97FF-C0DC8FA0162E}"/>
              </a:ext>
            </a:extLst>
          </p:cNvPr>
          <p:cNvSpPr/>
          <p:nvPr/>
        </p:nvSpPr>
        <p:spPr>
          <a:xfrm>
            <a:off x="11216081" y="1"/>
            <a:ext cx="974360" cy="763399"/>
          </a:xfrm>
          <a:prstGeom prst="rect">
            <a:avLst/>
          </a:prstGeom>
          <a:solidFill>
            <a:srgbClr val="FFFFFF">
              <a:alpha val="88000"/>
            </a:srgbClr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77">
              <a:defRPr/>
            </a:pPr>
            <a:endParaRPr lang="en-US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185" name="Freeform 128">
            <a:extLst>
              <a:ext uri="{FF2B5EF4-FFF2-40B4-BE49-F238E27FC236}">
                <a16:creationId xmlns:a16="http://schemas.microsoft.com/office/drawing/2014/main" id="{4E379510-B6B1-924F-9388-83DD38F48291}"/>
              </a:ext>
            </a:extLst>
          </p:cNvPr>
          <p:cNvSpPr>
            <a:spLocks noChangeAspect="1"/>
          </p:cNvSpPr>
          <p:nvPr/>
        </p:nvSpPr>
        <p:spPr bwMode="auto">
          <a:xfrm>
            <a:off x="4014495" y="6357399"/>
            <a:ext cx="407827" cy="228320"/>
          </a:xfrm>
          <a:custGeom>
            <a:avLst/>
            <a:gdLst>
              <a:gd name="T0" fmla="*/ 396 w 509"/>
              <a:gd name="T1" fmla="*/ 281 h 281"/>
              <a:gd name="T2" fmla="*/ 57 w 509"/>
              <a:gd name="T3" fmla="*/ 281 h 281"/>
              <a:gd name="T4" fmla="*/ 0 w 509"/>
              <a:gd name="T5" fmla="*/ 223 h 281"/>
              <a:gd name="T6" fmla="*/ 43 w 509"/>
              <a:gd name="T7" fmla="*/ 168 h 281"/>
              <a:gd name="T8" fmla="*/ 110 w 509"/>
              <a:gd name="T9" fmla="*/ 116 h 281"/>
              <a:gd name="T10" fmla="*/ 232 w 509"/>
              <a:gd name="T11" fmla="*/ 0 h 281"/>
              <a:gd name="T12" fmla="*/ 343 w 509"/>
              <a:gd name="T13" fmla="*/ 70 h 281"/>
              <a:gd name="T14" fmla="*/ 396 w 509"/>
              <a:gd name="T15" fmla="*/ 56 h 281"/>
              <a:gd name="T16" fmla="*/ 509 w 509"/>
              <a:gd name="T17" fmla="*/ 169 h 281"/>
              <a:gd name="T18" fmla="*/ 396 w 509"/>
              <a:gd name="T19" fmla="*/ 281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09" h="281">
                <a:moveTo>
                  <a:pt x="396" y="281"/>
                </a:moveTo>
                <a:cubicBezTo>
                  <a:pt x="57" y="281"/>
                  <a:pt x="57" y="281"/>
                  <a:pt x="57" y="281"/>
                </a:cubicBezTo>
                <a:cubicBezTo>
                  <a:pt x="26" y="281"/>
                  <a:pt x="0" y="255"/>
                  <a:pt x="0" y="223"/>
                </a:cubicBezTo>
                <a:cubicBezTo>
                  <a:pt x="0" y="196"/>
                  <a:pt x="18" y="174"/>
                  <a:pt x="43" y="168"/>
                </a:cubicBezTo>
                <a:cubicBezTo>
                  <a:pt x="55" y="140"/>
                  <a:pt x="80" y="120"/>
                  <a:pt x="110" y="116"/>
                </a:cubicBezTo>
                <a:cubicBezTo>
                  <a:pt x="113" y="52"/>
                  <a:pt x="167" y="0"/>
                  <a:pt x="232" y="0"/>
                </a:cubicBezTo>
                <a:cubicBezTo>
                  <a:pt x="280" y="0"/>
                  <a:pt x="323" y="28"/>
                  <a:pt x="343" y="70"/>
                </a:cubicBezTo>
                <a:cubicBezTo>
                  <a:pt x="359" y="61"/>
                  <a:pt x="377" y="56"/>
                  <a:pt x="396" y="56"/>
                </a:cubicBezTo>
                <a:cubicBezTo>
                  <a:pt x="458" y="56"/>
                  <a:pt x="509" y="107"/>
                  <a:pt x="509" y="169"/>
                </a:cubicBezTo>
                <a:cubicBezTo>
                  <a:pt x="509" y="230"/>
                  <a:pt x="458" y="281"/>
                  <a:pt x="396" y="281"/>
                </a:cubicBezTo>
                <a:close/>
              </a:path>
            </a:pathLst>
          </a:custGeom>
          <a:noFill/>
          <a:ln w="19050">
            <a:solidFill>
              <a:schemeClr val="accent1"/>
            </a:solidFill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>
              <a:defRPr/>
            </a:pPr>
            <a:endParaRPr lang="en-US" sz="1000">
              <a:solidFill>
                <a:srgbClr val="333333"/>
              </a:solidFill>
              <a:latin typeface="Segoe UI Semibold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16AC4B3-B2A3-4C4E-8045-2DFAD50B3750}"/>
              </a:ext>
            </a:extLst>
          </p:cNvPr>
          <p:cNvGrpSpPr/>
          <p:nvPr/>
        </p:nvGrpSpPr>
        <p:grpSpPr>
          <a:xfrm>
            <a:off x="8661821" y="6366811"/>
            <a:ext cx="260167" cy="259052"/>
            <a:chOff x="9301765" y="6305291"/>
            <a:chExt cx="290033" cy="288792"/>
          </a:xfrm>
        </p:grpSpPr>
        <p:grpSp>
          <p:nvGrpSpPr>
            <p:cNvPr id="177" name="Group 176">
              <a:extLst>
                <a:ext uri="{FF2B5EF4-FFF2-40B4-BE49-F238E27FC236}">
                  <a16:creationId xmlns:a16="http://schemas.microsoft.com/office/drawing/2014/main" id="{511F3B6B-B511-CE45-A1EA-D9945CFBF70A}"/>
                </a:ext>
              </a:extLst>
            </p:cNvPr>
            <p:cNvGrpSpPr/>
            <p:nvPr/>
          </p:nvGrpSpPr>
          <p:grpSpPr>
            <a:xfrm flipH="1">
              <a:off x="9301765" y="6305291"/>
              <a:ext cx="290033" cy="288792"/>
              <a:chOff x="7749590" y="2876913"/>
              <a:chExt cx="187018" cy="188120"/>
            </a:xfrm>
            <a:noFill/>
          </p:grpSpPr>
          <p:sp>
            <p:nvSpPr>
              <p:cNvPr id="179" name="Freeform 99">
                <a:extLst>
                  <a:ext uri="{FF2B5EF4-FFF2-40B4-BE49-F238E27FC236}">
                    <a16:creationId xmlns:a16="http://schemas.microsoft.com/office/drawing/2014/main" id="{9DB6FE35-37CE-3A45-80C0-5A50DC59CE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9616" y="2951946"/>
                <a:ext cx="111966" cy="113087"/>
              </a:xfrm>
              <a:custGeom>
                <a:avLst/>
                <a:gdLst>
                  <a:gd name="T0" fmla="*/ 0 w 46"/>
                  <a:gd name="T1" fmla="*/ 0 h 47"/>
                  <a:gd name="T2" fmla="*/ 46 w 46"/>
                  <a:gd name="T3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6" h="47">
                    <a:moveTo>
                      <a:pt x="0" y="0"/>
                    </a:moveTo>
                    <a:cubicBezTo>
                      <a:pt x="25" y="0"/>
                      <a:pt x="46" y="21"/>
                      <a:pt x="46" y="47"/>
                    </a:cubicBezTo>
                  </a:path>
                </a:pathLst>
              </a:custGeom>
              <a:grpFill/>
              <a:ln w="1905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defTabSz="896192">
                  <a:defRPr/>
                </a:pPr>
                <a:endParaRPr lang="en-US" sz="1000">
                  <a:solidFill>
                    <a:srgbClr val="FFFFFF"/>
                  </a:solidFill>
                  <a:latin typeface="Segoe UI Semibold"/>
                </a:endParaRPr>
              </a:p>
            </p:txBody>
          </p:sp>
          <p:sp>
            <p:nvSpPr>
              <p:cNvPr id="180" name="Freeform 100">
                <a:extLst>
                  <a:ext uri="{FF2B5EF4-FFF2-40B4-BE49-F238E27FC236}">
                    <a16:creationId xmlns:a16="http://schemas.microsoft.com/office/drawing/2014/main" id="{8ECE2375-D620-EA46-B558-C5F448CD92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9590" y="2916113"/>
                <a:ext cx="150035" cy="148916"/>
              </a:xfrm>
              <a:custGeom>
                <a:avLst/>
                <a:gdLst>
                  <a:gd name="T0" fmla="*/ 0 w 62"/>
                  <a:gd name="T1" fmla="*/ 0 h 62"/>
                  <a:gd name="T2" fmla="*/ 62 w 62"/>
                  <a:gd name="T3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2" h="62">
                    <a:moveTo>
                      <a:pt x="0" y="0"/>
                    </a:moveTo>
                    <a:cubicBezTo>
                      <a:pt x="34" y="0"/>
                      <a:pt x="62" y="27"/>
                      <a:pt x="62" y="62"/>
                    </a:cubicBezTo>
                  </a:path>
                </a:pathLst>
              </a:custGeom>
              <a:grpFill/>
              <a:ln w="1905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defTabSz="896192">
                  <a:defRPr/>
                </a:pPr>
                <a:endParaRPr lang="en-US" sz="1000">
                  <a:solidFill>
                    <a:srgbClr val="FFFFFF"/>
                  </a:solidFill>
                  <a:latin typeface="Segoe UI Semibold"/>
                </a:endParaRPr>
              </a:p>
            </p:txBody>
          </p:sp>
          <p:sp>
            <p:nvSpPr>
              <p:cNvPr id="181" name="Freeform 101">
                <a:extLst>
                  <a:ext uri="{FF2B5EF4-FFF2-40B4-BE49-F238E27FC236}">
                    <a16:creationId xmlns:a16="http://schemas.microsoft.com/office/drawing/2014/main" id="{99C0EDB3-E644-134E-ADD3-08C207CC8D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9625" y="2876913"/>
                <a:ext cx="186983" cy="188103"/>
              </a:xfrm>
              <a:custGeom>
                <a:avLst/>
                <a:gdLst>
                  <a:gd name="T0" fmla="*/ 0 w 77"/>
                  <a:gd name="T1" fmla="*/ 0 h 78"/>
                  <a:gd name="T2" fmla="*/ 77 w 77"/>
                  <a:gd name="T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7" h="78">
                    <a:moveTo>
                      <a:pt x="0" y="0"/>
                    </a:moveTo>
                    <a:cubicBezTo>
                      <a:pt x="42" y="0"/>
                      <a:pt x="77" y="35"/>
                      <a:pt x="77" y="78"/>
                    </a:cubicBezTo>
                  </a:path>
                </a:pathLst>
              </a:custGeom>
              <a:grpFill/>
              <a:ln w="1905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defTabSz="896192">
                  <a:defRPr/>
                </a:pPr>
                <a:endParaRPr lang="en-US" sz="1000">
                  <a:solidFill>
                    <a:srgbClr val="FFFFFF"/>
                  </a:solidFill>
                  <a:latin typeface="Segoe UI Semibold"/>
                </a:endParaRPr>
              </a:p>
            </p:txBody>
          </p:sp>
        </p:grpSp>
        <p:sp>
          <p:nvSpPr>
            <p:cNvPr id="178" name="Oval 177">
              <a:extLst>
                <a:ext uri="{FF2B5EF4-FFF2-40B4-BE49-F238E27FC236}">
                  <a16:creationId xmlns:a16="http://schemas.microsoft.com/office/drawing/2014/main" id="{B8936ECA-DC72-7543-A3E6-69BE1AACC029}"/>
                </a:ext>
              </a:extLst>
            </p:cNvPr>
            <p:cNvSpPr/>
            <p:nvPr/>
          </p:nvSpPr>
          <p:spPr bwMode="auto">
            <a:xfrm>
              <a:off x="9496196" y="6496061"/>
              <a:ext cx="88179" cy="87287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00">
                <a:solidFill>
                  <a:srgbClr val="FFFFFF"/>
                </a:solidFill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22" name="TextBox 121">
            <a:extLst>
              <a:ext uri="{FF2B5EF4-FFF2-40B4-BE49-F238E27FC236}">
                <a16:creationId xmlns:a16="http://schemas.microsoft.com/office/drawing/2014/main" id="{257E56AD-3936-428C-9356-367128928694}"/>
              </a:ext>
            </a:extLst>
          </p:cNvPr>
          <p:cNvSpPr txBox="1"/>
          <p:nvPr/>
        </p:nvSpPr>
        <p:spPr>
          <a:xfrm>
            <a:off x="7013689" y="4882546"/>
            <a:ext cx="1118768" cy="3416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89584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</a:t>
            </a:r>
            <a:b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bricks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9D36ACC0-8FF1-45AF-8E99-87219512AD2B}"/>
              </a:ext>
            </a:extLst>
          </p:cNvPr>
          <p:cNvSpPr txBox="1"/>
          <p:nvPr/>
        </p:nvSpPr>
        <p:spPr>
          <a:xfrm>
            <a:off x="10570848" y="4882545"/>
            <a:ext cx="1118768" cy="3416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89584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achine </a:t>
            </a:r>
            <a:b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earning VMs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6D217B34-2E14-4C7D-8263-6D3BD812D411}"/>
              </a:ext>
            </a:extLst>
          </p:cNvPr>
          <p:cNvSpPr txBox="1"/>
          <p:nvPr/>
        </p:nvSpPr>
        <p:spPr>
          <a:xfrm>
            <a:off x="8228199" y="3962635"/>
            <a:ext cx="1076060" cy="2169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89584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ensorFlow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D748D8D9-58ED-4552-B5F5-A85628A7EA67}"/>
              </a:ext>
            </a:extLst>
          </p:cNvPr>
          <p:cNvSpPr txBox="1"/>
          <p:nvPr/>
        </p:nvSpPr>
        <p:spPr>
          <a:xfrm>
            <a:off x="7035043" y="3962635"/>
            <a:ext cx="1076060" cy="2169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89584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yTorch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BDA65DFF-4A02-4689-B8BD-047B8B81B63C}"/>
              </a:ext>
            </a:extLst>
          </p:cNvPr>
          <p:cNvSpPr txBox="1"/>
          <p:nvPr/>
        </p:nvSpPr>
        <p:spPr>
          <a:xfrm>
            <a:off x="10592203" y="3962635"/>
            <a:ext cx="1076060" cy="2169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89584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NNX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F9FE331D-97B8-4F62-9165-A8E03830EC5E}"/>
              </a:ext>
            </a:extLst>
          </p:cNvPr>
          <p:cNvSpPr txBox="1"/>
          <p:nvPr/>
        </p:nvSpPr>
        <p:spPr>
          <a:xfrm>
            <a:off x="8630453" y="4882545"/>
            <a:ext cx="1315631" cy="3416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89584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Machine Learning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AAD327AA-DAD8-46B6-8B4F-0AE7C721A8E9}"/>
              </a:ext>
            </a:extLst>
          </p:cNvPr>
          <p:cNvSpPr txBox="1"/>
          <p:nvPr/>
        </p:nvSpPr>
        <p:spPr>
          <a:xfrm>
            <a:off x="9585273" y="1989246"/>
            <a:ext cx="753139" cy="2169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89584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anguage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F78B102D-572A-42AB-BB57-43DAD1761645}"/>
              </a:ext>
            </a:extLst>
          </p:cNvPr>
          <p:cNvSpPr txBox="1"/>
          <p:nvPr/>
        </p:nvSpPr>
        <p:spPr>
          <a:xfrm>
            <a:off x="8423734" y="1989246"/>
            <a:ext cx="684991" cy="2169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89584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peech</a:t>
            </a:r>
          </a:p>
        </p:txBody>
      </p:sp>
      <p:sp>
        <p:nvSpPr>
          <p:cNvPr id="131" name="Rounded Rectangular Callout 243">
            <a:extLst>
              <a:ext uri="{FF2B5EF4-FFF2-40B4-BE49-F238E27FC236}">
                <a16:creationId xmlns:a16="http://schemas.microsoft.com/office/drawing/2014/main" id="{3E18B20B-DB7E-4C25-88C3-C4E6BCADE250}"/>
              </a:ext>
            </a:extLst>
          </p:cNvPr>
          <p:cNvSpPr/>
          <p:nvPr/>
        </p:nvSpPr>
        <p:spPr bwMode="auto">
          <a:xfrm>
            <a:off x="8611967" y="1653890"/>
            <a:ext cx="308523" cy="206711"/>
          </a:xfrm>
          <a:prstGeom prst="wedgeRoundRectCallout">
            <a:avLst>
              <a:gd name="adj1" fmla="val 30853"/>
              <a:gd name="adj2" fmla="val 79643"/>
              <a:gd name="adj3" fmla="val 16667"/>
            </a:avLst>
          </a:prstGeom>
          <a:noFill/>
          <a:ln w="12700" cap="flat" cmpd="sng" algn="ctr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324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rgbClr val="0078D4"/>
                </a:solidFill>
                <a:latin typeface="Segoe UI"/>
                <a:ea typeface="Segoe UI" pitchFamily="34" charset="0"/>
                <a:cs typeface="Segoe UI" pitchFamily="34" charset="0"/>
              </a:rPr>
              <a:t>…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AED64037-5F43-40C9-907D-727A624BE094}"/>
              </a:ext>
            </a:extLst>
          </p:cNvPr>
          <p:cNvSpPr txBox="1"/>
          <p:nvPr/>
        </p:nvSpPr>
        <p:spPr>
          <a:xfrm>
            <a:off x="10757924" y="1989246"/>
            <a:ext cx="744616" cy="2169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89584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earch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7E8EFE9B-6903-4B9E-9BC7-9ED134658C58}"/>
              </a:ext>
            </a:extLst>
          </p:cNvPr>
          <p:cNvSpPr txBox="1"/>
          <p:nvPr/>
        </p:nvSpPr>
        <p:spPr>
          <a:xfrm>
            <a:off x="7230579" y="1989246"/>
            <a:ext cx="684991" cy="2169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89584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ision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EBAA79BE-00AC-4BA7-A0FD-581EB561186E}"/>
              </a:ext>
            </a:extLst>
          </p:cNvPr>
          <p:cNvSpPr/>
          <p:nvPr/>
        </p:nvSpPr>
        <p:spPr>
          <a:xfrm>
            <a:off x="9654068" y="4001878"/>
            <a:ext cx="61555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914344">
              <a:defRPr/>
            </a:pPr>
            <a:r>
              <a:rPr lang="en-US" sz="900" err="1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cikit</a:t>
            </a:r>
            <a: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-Learn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F37B5F22-C8D0-4EA6-88A3-84FDC1F4ADD9}"/>
              </a:ext>
            </a:extLst>
          </p:cNvPr>
          <p:cNvSpPr/>
          <p:nvPr/>
        </p:nvSpPr>
        <p:spPr>
          <a:xfrm>
            <a:off x="8310976" y="2999238"/>
            <a:ext cx="910506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914344">
              <a:defRPr/>
            </a:pPr>
            <a: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Notebooks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011E122B-6802-4881-B284-26B693C1FADB}"/>
              </a:ext>
            </a:extLst>
          </p:cNvPr>
          <p:cNvSpPr/>
          <p:nvPr/>
        </p:nvSpPr>
        <p:spPr>
          <a:xfrm>
            <a:off x="9767882" y="2999238"/>
            <a:ext cx="387927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914344">
              <a:defRPr/>
            </a:pPr>
            <a:r>
              <a:rPr lang="en-US" sz="900" err="1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Jupyter</a:t>
            </a:r>
            <a:endParaRPr lang="en-US" sz="900">
              <a:solidFill>
                <a:prstClr val="black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F965D213-FB14-4C85-9507-CC3BF423E6BF}"/>
              </a:ext>
            </a:extLst>
          </p:cNvPr>
          <p:cNvSpPr/>
          <p:nvPr/>
        </p:nvSpPr>
        <p:spPr>
          <a:xfrm>
            <a:off x="7079348" y="3004280"/>
            <a:ext cx="987450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914344">
              <a:defRPr/>
            </a:pPr>
            <a: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isual Studio Code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27BA15C0-EC96-46C3-81A8-45BB18B8D2E6}"/>
              </a:ext>
            </a:extLst>
          </p:cNvPr>
          <p:cNvSpPr/>
          <p:nvPr/>
        </p:nvSpPr>
        <p:spPr>
          <a:xfrm>
            <a:off x="10747917" y="2998517"/>
            <a:ext cx="76463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914344">
              <a:defRPr/>
            </a:pPr>
            <a: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ommand line</a:t>
            </a:r>
          </a:p>
        </p:txBody>
      </p:sp>
      <p:sp>
        <p:nvSpPr>
          <p:cNvPr id="143" name="eye_2">
            <a:extLst>
              <a:ext uri="{FF2B5EF4-FFF2-40B4-BE49-F238E27FC236}">
                <a16:creationId xmlns:a16="http://schemas.microsoft.com/office/drawing/2014/main" id="{D83083D9-676C-41EA-A728-363F897F9D3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402352" y="1683001"/>
            <a:ext cx="341443" cy="189451"/>
          </a:xfrm>
          <a:custGeom>
            <a:avLst/>
            <a:gdLst>
              <a:gd name="T0" fmla="*/ 5 w 346"/>
              <a:gd name="T1" fmla="*/ 103 h 191"/>
              <a:gd name="T2" fmla="*/ 0 w 346"/>
              <a:gd name="T3" fmla="*/ 96 h 191"/>
              <a:gd name="T4" fmla="*/ 3 w 346"/>
              <a:gd name="T5" fmla="*/ 92 h 191"/>
              <a:gd name="T6" fmla="*/ 5 w 346"/>
              <a:gd name="T7" fmla="*/ 103 h 191"/>
              <a:gd name="T8" fmla="*/ 173 w 346"/>
              <a:gd name="T9" fmla="*/ 191 h 191"/>
              <a:gd name="T10" fmla="*/ 346 w 346"/>
              <a:gd name="T11" fmla="*/ 96 h 191"/>
              <a:gd name="T12" fmla="*/ 173 w 346"/>
              <a:gd name="T13" fmla="*/ 0 h 191"/>
              <a:gd name="T14" fmla="*/ 3 w 346"/>
              <a:gd name="T15" fmla="*/ 92 h 191"/>
              <a:gd name="T16" fmla="*/ 175 w 346"/>
              <a:gd name="T17" fmla="*/ 14 h 191"/>
              <a:gd name="T18" fmla="*/ 89 w 346"/>
              <a:gd name="T19" fmla="*/ 96 h 191"/>
              <a:gd name="T20" fmla="*/ 175 w 346"/>
              <a:gd name="T21" fmla="*/ 178 h 191"/>
              <a:gd name="T22" fmla="*/ 261 w 346"/>
              <a:gd name="T23" fmla="*/ 96 h 191"/>
              <a:gd name="T24" fmla="*/ 175 w 346"/>
              <a:gd name="T25" fmla="*/ 14 h 191"/>
              <a:gd name="T26" fmla="*/ 175 w 346"/>
              <a:gd name="T27" fmla="*/ 78 h 191"/>
              <a:gd name="T28" fmla="*/ 156 w 346"/>
              <a:gd name="T29" fmla="*/ 96 h 191"/>
              <a:gd name="T30" fmla="*/ 175 w 346"/>
              <a:gd name="T31" fmla="*/ 114 h 191"/>
              <a:gd name="T32" fmla="*/ 194 w 346"/>
              <a:gd name="T33" fmla="*/ 96 h 191"/>
              <a:gd name="T34" fmla="*/ 175 w 346"/>
              <a:gd name="T35" fmla="*/ 78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46" h="191">
                <a:moveTo>
                  <a:pt x="5" y="103"/>
                </a:moveTo>
                <a:cubicBezTo>
                  <a:pt x="2" y="98"/>
                  <a:pt x="0" y="96"/>
                  <a:pt x="0" y="96"/>
                </a:cubicBezTo>
                <a:cubicBezTo>
                  <a:pt x="0" y="96"/>
                  <a:pt x="1" y="94"/>
                  <a:pt x="3" y="92"/>
                </a:cubicBezTo>
                <a:moveTo>
                  <a:pt x="5" y="103"/>
                </a:moveTo>
                <a:cubicBezTo>
                  <a:pt x="23" y="125"/>
                  <a:pt x="82" y="191"/>
                  <a:pt x="173" y="191"/>
                </a:cubicBezTo>
                <a:cubicBezTo>
                  <a:pt x="283" y="191"/>
                  <a:pt x="346" y="96"/>
                  <a:pt x="346" y="96"/>
                </a:cubicBezTo>
                <a:cubicBezTo>
                  <a:pt x="346" y="96"/>
                  <a:pt x="283" y="0"/>
                  <a:pt x="173" y="0"/>
                </a:cubicBezTo>
                <a:cubicBezTo>
                  <a:pt x="77" y="0"/>
                  <a:pt x="17" y="73"/>
                  <a:pt x="3" y="92"/>
                </a:cubicBezTo>
                <a:moveTo>
                  <a:pt x="175" y="14"/>
                </a:moveTo>
                <a:cubicBezTo>
                  <a:pt x="128" y="14"/>
                  <a:pt x="89" y="50"/>
                  <a:pt x="89" y="96"/>
                </a:cubicBezTo>
                <a:cubicBezTo>
                  <a:pt x="89" y="141"/>
                  <a:pt x="128" y="178"/>
                  <a:pt x="175" y="178"/>
                </a:cubicBezTo>
                <a:cubicBezTo>
                  <a:pt x="222" y="178"/>
                  <a:pt x="261" y="141"/>
                  <a:pt x="261" y="96"/>
                </a:cubicBezTo>
                <a:cubicBezTo>
                  <a:pt x="261" y="50"/>
                  <a:pt x="222" y="14"/>
                  <a:pt x="175" y="14"/>
                </a:cubicBezTo>
                <a:close/>
                <a:moveTo>
                  <a:pt x="175" y="78"/>
                </a:moveTo>
                <a:cubicBezTo>
                  <a:pt x="165" y="78"/>
                  <a:pt x="156" y="86"/>
                  <a:pt x="156" y="96"/>
                </a:cubicBezTo>
                <a:cubicBezTo>
                  <a:pt x="156" y="106"/>
                  <a:pt x="165" y="114"/>
                  <a:pt x="175" y="114"/>
                </a:cubicBezTo>
                <a:cubicBezTo>
                  <a:pt x="185" y="114"/>
                  <a:pt x="194" y="106"/>
                  <a:pt x="194" y="96"/>
                </a:cubicBezTo>
                <a:cubicBezTo>
                  <a:pt x="194" y="86"/>
                  <a:pt x="185" y="78"/>
                  <a:pt x="175" y="78"/>
                </a:cubicBezTo>
                <a:close/>
              </a:path>
            </a:pathLst>
          </a:custGeom>
          <a:noFill/>
          <a:ln w="12700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>
              <a:defRPr/>
            </a:pPr>
            <a:endParaRPr lang="en-US">
              <a:solidFill>
                <a:srgbClr val="1A1A1A"/>
              </a:solidFill>
              <a:latin typeface="Segoe UI"/>
            </a:endParaRPr>
          </a:p>
        </p:txBody>
      </p:sp>
      <p:pic>
        <p:nvPicPr>
          <p:cNvPr id="144" name="Graphic 569">
            <a:extLst>
              <a:ext uri="{FF2B5EF4-FFF2-40B4-BE49-F238E27FC236}">
                <a16:creationId xmlns:a16="http://schemas.microsoft.com/office/drawing/2014/main" id="{2E0341AB-AA2B-40A4-90A4-D0D17CF92E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02934" y="1630587"/>
            <a:ext cx="317823" cy="294280"/>
          </a:xfrm>
          <a:prstGeom prst="rect">
            <a:avLst/>
          </a:prstGeom>
        </p:spPr>
      </p:pic>
      <p:sp>
        <p:nvSpPr>
          <p:cNvPr id="145" name="Freeform 5">
            <a:extLst>
              <a:ext uri="{FF2B5EF4-FFF2-40B4-BE49-F238E27FC236}">
                <a16:creationId xmlns:a16="http://schemas.microsoft.com/office/drawing/2014/main" id="{B8A4B16F-4E96-4A15-961B-FD59502A80E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985372" y="1635635"/>
            <a:ext cx="289723" cy="284187"/>
          </a:xfrm>
          <a:custGeom>
            <a:avLst/>
            <a:gdLst>
              <a:gd name="T0" fmla="*/ 112 w 343"/>
              <a:gd name="T1" fmla="*/ 223 h 338"/>
              <a:gd name="T2" fmla="*/ 0 w 343"/>
              <a:gd name="T3" fmla="*/ 111 h 338"/>
              <a:gd name="T4" fmla="*/ 112 w 343"/>
              <a:gd name="T5" fmla="*/ 0 h 338"/>
              <a:gd name="T6" fmla="*/ 223 w 343"/>
              <a:gd name="T7" fmla="*/ 111 h 338"/>
              <a:gd name="T8" fmla="*/ 112 w 343"/>
              <a:gd name="T9" fmla="*/ 223 h 338"/>
              <a:gd name="T10" fmla="*/ 343 w 343"/>
              <a:gd name="T11" fmla="*/ 338 h 338"/>
              <a:gd name="T12" fmla="*/ 191 w 343"/>
              <a:gd name="T13" fmla="*/ 189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43" h="338">
                <a:moveTo>
                  <a:pt x="112" y="223"/>
                </a:moveTo>
                <a:cubicBezTo>
                  <a:pt x="50" y="223"/>
                  <a:pt x="0" y="173"/>
                  <a:pt x="0" y="111"/>
                </a:cubicBezTo>
                <a:cubicBezTo>
                  <a:pt x="0" y="50"/>
                  <a:pt x="50" y="0"/>
                  <a:pt x="112" y="0"/>
                </a:cubicBezTo>
                <a:cubicBezTo>
                  <a:pt x="173" y="0"/>
                  <a:pt x="223" y="50"/>
                  <a:pt x="223" y="111"/>
                </a:cubicBezTo>
                <a:cubicBezTo>
                  <a:pt x="223" y="173"/>
                  <a:pt x="173" y="223"/>
                  <a:pt x="112" y="223"/>
                </a:cubicBezTo>
                <a:close/>
                <a:moveTo>
                  <a:pt x="343" y="338"/>
                </a:moveTo>
                <a:cubicBezTo>
                  <a:pt x="191" y="189"/>
                  <a:pt x="191" y="189"/>
                  <a:pt x="191" y="189"/>
                </a:cubicBezTo>
              </a:path>
            </a:pathLst>
          </a:custGeom>
          <a:noFill/>
          <a:ln w="12700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>
              <a:defRPr/>
            </a:pPr>
            <a:endParaRPr lang="en-US">
              <a:solidFill>
                <a:srgbClr val="1A1A1A"/>
              </a:solidFill>
              <a:latin typeface="Segoe UI"/>
            </a:endParaRPr>
          </a:p>
        </p:txBody>
      </p: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C422CFA-172B-42EC-9C5F-0317A2980356}"/>
              </a:ext>
            </a:extLst>
          </p:cNvPr>
          <p:cNvGrpSpPr/>
          <p:nvPr/>
        </p:nvGrpSpPr>
        <p:grpSpPr>
          <a:xfrm>
            <a:off x="10899884" y="4510762"/>
            <a:ext cx="460699" cy="348263"/>
            <a:chOff x="7669747" y="4810232"/>
            <a:chExt cx="520064" cy="393139"/>
          </a:xfrm>
          <a:noFill/>
        </p:grpSpPr>
        <p:grpSp>
          <p:nvGrpSpPr>
            <p:cNvPr id="147" name="Group 4">
              <a:extLst>
                <a:ext uri="{FF2B5EF4-FFF2-40B4-BE49-F238E27FC236}">
                  <a16:creationId xmlns:a16="http://schemas.microsoft.com/office/drawing/2014/main" id="{7CD9B34A-1A8D-4655-A918-5194E283509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669747" y="4810232"/>
              <a:ext cx="520064" cy="393139"/>
              <a:chOff x="3728" y="2083"/>
              <a:chExt cx="245" cy="174"/>
            </a:xfrm>
            <a:grpFill/>
          </p:grpSpPr>
          <p:sp>
            <p:nvSpPr>
              <p:cNvPr id="153" name="Rectangle 152">
                <a:extLst>
                  <a:ext uri="{FF2B5EF4-FFF2-40B4-BE49-F238E27FC236}">
                    <a16:creationId xmlns:a16="http://schemas.microsoft.com/office/drawing/2014/main" id="{1C75202D-7827-4BA4-8D0F-AA6FACFA34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83"/>
                <a:ext cx="245" cy="138"/>
              </a:xfrm>
              <a:prstGeom prst="rect">
                <a:avLst/>
              </a:prstGeom>
              <a:grpFill/>
              <a:ln w="12700" cap="rnd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32719">
                  <a:defRPr/>
                </a:pPr>
                <a:endParaRPr lang="en-US">
                  <a:solidFill>
                    <a:srgbClr val="505050"/>
                  </a:solidFill>
                  <a:latin typeface="Segoe UI Semilight"/>
                </a:endParaRPr>
              </a:p>
            </p:txBody>
          </p:sp>
          <p:sp>
            <p:nvSpPr>
              <p:cNvPr id="154" name="Line 7">
                <a:extLst>
                  <a:ext uri="{FF2B5EF4-FFF2-40B4-BE49-F238E27FC236}">
                    <a16:creationId xmlns:a16="http://schemas.microsoft.com/office/drawing/2014/main" id="{9444A43F-9142-4ABE-A889-80E36B7A78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50" y="2221"/>
                <a:ext cx="0" cy="36"/>
              </a:xfrm>
              <a:prstGeom prst="line">
                <a:avLst/>
              </a:prstGeom>
              <a:grpFill/>
              <a:ln w="12700" cap="rnd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32719">
                  <a:defRPr/>
                </a:pPr>
                <a:endParaRPr lang="en-US">
                  <a:solidFill>
                    <a:srgbClr val="505050"/>
                  </a:solidFill>
                  <a:latin typeface="Segoe UI Semilight"/>
                </a:endParaRPr>
              </a:p>
            </p:txBody>
          </p:sp>
          <p:sp>
            <p:nvSpPr>
              <p:cNvPr id="155" name="Line 8">
                <a:extLst>
                  <a:ext uri="{FF2B5EF4-FFF2-40B4-BE49-F238E27FC236}">
                    <a16:creationId xmlns:a16="http://schemas.microsoft.com/office/drawing/2014/main" id="{FDF7A590-B83F-4F0E-8190-BFAFC2CB997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08" y="2257"/>
                <a:ext cx="86" cy="0"/>
              </a:xfrm>
              <a:prstGeom prst="line">
                <a:avLst/>
              </a:prstGeom>
              <a:grpFill/>
              <a:ln w="12700" cap="rnd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32719">
                  <a:defRPr/>
                </a:pPr>
                <a:endParaRPr lang="en-US">
                  <a:solidFill>
                    <a:srgbClr val="505050"/>
                  </a:solidFill>
                  <a:latin typeface="Segoe UI Semilight"/>
                </a:endParaRPr>
              </a:p>
            </p:txBody>
          </p:sp>
        </p:grp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A35E4D63-B438-4437-935E-6EEA9D7AD924}"/>
                </a:ext>
              </a:extLst>
            </p:cNvPr>
            <p:cNvGrpSpPr/>
            <p:nvPr/>
          </p:nvGrpSpPr>
          <p:grpSpPr>
            <a:xfrm>
              <a:off x="7857378" y="4871216"/>
              <a:ext cx="164327" cy="180784"/>
              <a:chOff x="5834040" y="2879832"/>
              <a:chExt cx="279258" cy="307228"/>
            </a:xfrm>
            <a:grpFill/>
          </p:grpSpPr>
          <p:sp>
            <p:nvSpPr>
              <p:cNvPr id="149" name="Freeform: Shape 843">
                <a:extLst>
                  <a:ext uri="{FF2B5EF4-FFF2-40B4-BE49-F238E27FC236}">
                    <a16:creationId xmlns:a16="http://schemas.microsoft.com/office/drawing/2014/main" id="{79830452-7D93-45D6-A0B2-48C1D761F641}"/>
                  </a:ext>
                </a:extLst>
              </p:cNvPr>
              <p:cNvSpPr/>
              <p:nvPr/>
            </p:nvSpPr>
            <p:spPr bwMode="auto">
              <a:xfrm>
                <a:off x="5834040" y="2879832"/>
                <a:ext cx="279258" cy="307228"/>
              </a:xfrm>
              <a:custGeom>
                <a:avLst/>
                <a:gdLst>
                  <a:gd name="connsiteX0" fmla="*/ 139628 w 279256"/>
                  <a:gd name="connsiteY0" fmla="*/ 0 h 307228"/>
                  <a:gd name="connsiteX1" fmla="*/ 279256 w 279256"/>
                  <a:gd name="connsiteY1" fmla="*/ 76617 h 307228"/>
                  <a:gd name="connsiteX2" fmla="*/ 279256 w 279256"/>
                  <a:gd name="connsiteY2" fmla="*/ 230611 h 307228"/>
                  <a:gd name="connsiteX3" fmla="*/ 139628 w 279256"/>
                  <a:gd name="connsiteY3" fmla="*/ 307228 h 307228"/>
                  <a:gd name="connsiteX4" fmla="*/ 0 w 279256"/>
                  <a:gd name="connsiteY4" fmla="*/ 230611 h 307228"/>
                  <a:gd name="connsiteX5" fmla="*/ 0 w 279256"/>
                  <a:gd name="connsiteY5" fmla="*/ 76617 h 307228"/>
                  <a:gd name="connsiteX6" fmla="*/ 139628 w 279256"/>
                  <a:gd name="connsiteY6" fmla="*/ 0 h 307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9256" h="307228">
                    <a:moveTo>
                      <a:pt x="139628" y="0"/>
                    </a:moveTo>
                    <a:lnTo>
                      <a:pt x="279256" y="76617"/>
                    </a:lnTo>
                    <a:lnTo>
                      <a:pt x="279256" y="230611"/>
                    </a:lnTo>
                    <a:lnTo>
                      <a:pt x="139628" y="307228"/>
                    </a:lnTo>
                    <a:lnTo>
                      <a:pt x="0" y="230611"/>
                    </a:lnTo>
                    <a:lnTo>
                      <a:pt x="0" y="76617"/>
                    </a:lnTo>
                    <a:lnTo>
                      <a:pt x="139628" y="0"/>
                    </a:lnTo>
                    <a:close/>
                  </a:path>
                </a:pathLst>
              </a:custGeom>
              <a:grpFill/>
              <a:ln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49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150" name="Straight Connector 149">
                <a:extLst>
                  <a:ext uri="{FF2B5EF4-FFF2-40B4-BE49-F238E27FC236}">
                    <a16:creationId xmlns:a16="http://schemas.microsoft.com/office/drawing/2014/main" id="{47A0B3B5-5B3B-459D-9881-76B092CEDA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834046" y="2956449"/>
                <a:ext cx="139620" cy="76997"/>
              </a:xfrm>
              <a:prstGeom prst="line">
                <a:avLst/>
              </a:prstGeom>
              <a:grpFill/>
              <a:ln w="12700" cap="flat" cmpd="sng" algn="ctr">
                <a:solidFill>
                  <a:schemeClr val="accent1"/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151" name="Straight Connector 150">
                <a:extLst>
                  <a:ext uri="{FF2B5EF4-FFF2-40B4-BE49-F238E27FC236}">
                    <a16:creationId xmlns:a16="http://schemas.microsoft.com/office/drawing/2014/main" id="{7D9113E8-D73F-4777-9EB1-E8309C09D2F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973659" y="2956449"/>
                <a:ext cx="139630" cy="76997"/>
              </a:xfrm>
              <a:prstGeom prst="line">
                <a:avLst/>
              </a:prstGeom>
              <a:grpFill/>
              <a:ln w="12700" cap="flat" cmpd="sng" algn="ctr">
                <a:solidFill>
                  <a:schemeClr val="accent1"/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152" name="Straight Connector 151">
                <a:extLst>
                  <a:ext uri="{FF2B5EF4-FFF2-40B4-BE49-F238E27FC236}">
                    <a16:creationId xmlns:a16="http://schemas.microsoft.com/office/drawing/2014/main" id="{C34CA168-CF82-4A52-A012-0182EE1D3F7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973664" y="3033446"/>
                <a:ext cx="0" cy="153614"/>
              </a:xfrm>
              <a:prstGeom prst="line">
                <a:avLst/>
              </a:prstGeom>
              <a:grpFill/>
              <a:ln w="12700" cap="flat" cmpd="sng" algn="ctr">
                <a:solidFill>
                  <a:schemeClr val="accent1"/>
                </a:solidFill>
                <a:prstDash val="solid"/>
                <a:headEnd type="none"/>
                <a:tailEnd type="none"/>
              </a:ln>
              <a:effectLst/>
            </p:spPr>
          </p:cxnSp>
        </p:grpSp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D1232EBF-4DA5-41FF-96FC-4C03AA312191}"/>
              </a:ext>
            </a:extLst>
          </p:cNvPr>
          <p:cNvGrpSpPr/>
          <p:nvPr/>
        </p:nvGrpSpPr>
        <p:grpSpPr>
          <a:xfrm>
            <a:off x="9128181" y="4513715"/>
            <a:ext cx="320175" cy="342357"/>
            <a:chOff x="8882196" y="3721867"/>
            <a:chExt cx="285941" cy="305752"/>
          </a:xfrm>
          <a:solidFill>
            <a:schemeClr val="bg1">
              <a:lumMod val="95000"/>
            </a:schemeClr>
          </a:solidFill>
        </p:grpSpPr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AF9711CA-CB73-4115-8D50-CE68DDBCD3AB}"/>
                </a:ext>
              </a:extLst>
            </p:cNvPr>
            <p:cNvSpPr/>
            <p:nvPr/>
          </p:nvSpPr>
          <p:spPr bwMode="auto">
            <a:xfrm>
              <a:off x="8901347" y="3950022"/>
              <a:ext cx="247639" cy="77597"/>
            </a:xfrm>
            <a:prstGeom prst="rect">
              <a:avLst/>
            </a:prstGeom>
            <a:grpFill/>
            <a:ln w="12700" cap="flat" cmpd="sng" algn="ctr">
              <a:solidFill>
                <a:schemeClr val="accent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324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8" name="Freeform 123">
              <a:extLst>
                <a:ext uri="{FF2B5EF4-FFF2-40B4-BE49-F238E27FC236}">
                  <a16:creationId xmlns:a16="http://schemas.microsoft.com/office/drawing/2014/main" id="{0C878E49-1E58-4007-959B-1F77B93E365A}"/>
                </a:ext>
              </a:extLst>
            </p:cNvPr>
            <p:cNvSpPr/>
            <p:nvPr/>
          </p:nvSpPr>
          <p:spPr bwMode="auto">
            <a:xfrm>
              <a:off x="8882196" y="3721867"/>
              <a:ext cx="180942" cy="305752"/>
            </a:xfrm>
            <a:custGeom>
              <a:avLst/>
              <a:gdLst>
                <a:gd name="connsiteX0" fmla="*/ 1641764 w 2847109"/>
                <a:gd name="connsiteY0" fmla="*/ 0 h 4810991"/>
                <a:gd name="connsiteX1" fmla="*/ 2847109 w 2847109"/>
                <a:gd name="connsiteY1" fmla="*/ 0 h 4810991"/>
                <a:gd name="connsiteX2" fmla="*/ 2847109 w 2847109"/>
                <a:gd name="connsiteY2" fmla="*/ 1797627 h 4810991"/>
                <a:gd name="connsiteX3" fmla="*/ 290946 w 2847109"/>
                <a:gd name="connsiteY3" fmla="*/ 4810991 h 4810991"/>
                <a:gd name="connsiteX4" fmla="*/ 0 w 2847109"/>
                <a:gd name="connsiteY4" fmla="*/ 3647209 h 4810991"/>
                <a:gd name="connsiteX5" fmla="*/ 1662546 w 2847109"/>
                <a:gd name="connsiteY5" fmla="*/ 1787236 h 4810991"/>
                <a:gd name="connsiteX6" fmla="*/ 1641764 w 2847109"/>
                <a:gd name="connsiteY6" fmla="*/ 0 h 4810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47109" h="4810991">
                  <a:moveTo>
                    <a:pt x="1641764" y="0"/>
                  </a:moveTo>
                  <a:lnTo>
                    <a:pt x="2847109" y="0"/>
                  </a:lnTo>
                  <a:lnTo>
                    <a:pt x="2847109" y="1797627"/>
                  </a:lnTo>
                  <a:lnTo>
                    <a:pt x="290946" y="4810991"/>
                  </a:lnTo>
                  <a:lnTo>
                    <a:pt x="0" y="3647209"/>
                  </a:lnTo>
                  <a:lnTo>
                    <a:pt x="1662546" y="1787236"/>
                  </a:lnTo>
                  <a:lnTo>
                    <a:pt x="1641764" y="0"/>
                  </a:lnTo>
                  <a:close/>
                </a:path>
              </a:pathLst>
            </a:custGeom>
            <a:grpFill/>
            <a:ln w="12700" cap="flat" cmpd="sng" algn="ctr">
              <a:solidFill>
                <a:schemeClr val="accent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324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kern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9" name="Freeform 124">
              <a:extLst>
                <a:ext uri="{FF2B5EF4-FFF2-40B4-BE49-F238E27FC236}">
                  <a16:creationId xmlns:a16="http://schemas.microsoft.com/office/drawing/2014/main" id="{F03C7730-C12B-4677-B2B3-23852CF33A24}"/>
                </a:ext>
              </a:extLst>
            </p:cNvPr>
            <p:cNvSpPr/>
            <p:nvPr/>
          </p:nvSpPr>
          <p:spPr bwMode="auto">
            <a:xfrm>
              <a:off x="9035402" y="3857904"/>
              <a:ext cx="132735" cy="169715"/>
            </a:xfrm>
            <a:custGeom>
              <a:avLst/>
              <a:gdLst>
                <a:gd name="connsiteX0" fmla="*/ 0 w 2088573"/>
                <a:gd name="connsiteY0" fmla="*/ 883227 h 2670464"/>
                <a:gd name="connsiteX1" fmla="*/ 737755 w 2088573"/>
                <a:gd name="connsiteY1" fmla="*/ 0 h 2670464"/>
                <a:gd name="connsiteX2" fmla="*/ 2088573 w 2088573"/>
                <a:gd name="connsiteY2" fmla="*/ 1517073 h 2670464"/>
                <a:gd name="connsiteX3" fmla="*/ 1797627 w 2088573"/>
                <a:gd name="connsiteY3" fmla="*/ 2670464 h 2670464"/>
                <a:gd name="connsiteX4" fmla="*/ 0 w 2088573"/>
                <a:gd name="connsiteY4" fmla="*/ 883227 h 2670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88573" h="2670464">
                  <a:moveTo>
                    <a:pt x="0" y="883227"/>
                  </a:moveTo>
                  <a:lnTo>
                    <a:pt x="737755" y="0"/>
                  </a:lnTo>
                  <a:lnTo>
                    <a:pt x="2088573" y="1517073"/>
                  </a:lnTo>
                  <a:lnTo>
                    <a:pt x="1797627" y="2670464"/>
                  </a:lnTo>
                  <a:lnTo>
                    <a:pt x="0" y="883227"/>
                  </a:lnTo>
                  <a:close/>
                </a:path>
              </a:pathLst>
            </a:custGeom>
            <a:grpFill/>
            <a:ln w="12700" cap="flat" cmpd="sng" algn="ctr">
              <a:solidFill>
                <a:schemeClr val="accent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324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kern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5D74FF60-1D55-448C-AC8B-972AE354AB18}"/>
              </a:ext>
            </a:extLst>
          </p:cNvPr>
          <p:cNvGrpSpPr/>
          <p:nvPr/>
        </p:nvGrpSpPr>
        <p:grpSpPr>
          <a:xfrm>
            <a:off x="7416980" y="4525790"/>
            <a:ext cx="312189" cy="318207"/>
            <a:chOff x="7158422" y="1607015"/>
            <a:chExt cx="2726357" cy="2778898"/>
          </a:xfrm>
          <a:solidFill>
            <a:schemeClr val="bg1">
              <a:lumMod val="95000"/>
            </a:schemeClr>
          </a:solidFill>
        </p:grpSpPr>
        <p:sp>
          <p:nvSpPr>
            <p:cNvPr id="161" name="Freeform 290">
              <a:extLst>
                <a:ext uri="{FF2B5EF4-FFF2-40B4-BE49-F238E27FC236}">
                  <a16:creationId xmlns:a16="http://schemas.microsoft.com/office/drawing/2014/main" id="{7A83A3FE-86CE-433C-9549-32123628FE18}"/>
                </a:ext>
              </a:extLst>
            </p:cNvPr>
            <p:cNvSpPr/>
            <p:nvPr/>
          </p:nvSpPr>
          <p:spPr bwMode="auto">
            <a:xfrm>
              <a:off x="7158422" y="2971802"/>
              <a:ext cx="2726357" cy="1414111"/>
            </a:xfrm>
            <a:custGeom>
              <a:avLst/>
              <a:gdLst>
                <a:gd name="connsiteX0" fmla="*/ 1363179 w 2726357"/>
                <a:gd name="connsiteY0" fmla="*/ 0 h 1414112"/>
                <a:gd name="connsiteX1" fmla="*/ 1859701 w 2726357"/>
                <a:gd name="connsiteY1" fmla="*/ 257537 h 1414112"/>
                <a:gd name="connsiteX2" fmla="*/ 2722177 w 2726357"/>
                <a:gd name="connsiteY2" fmla="*/ 257537 h 1414112"/>
                <a:gd name="connsiteX3" fmla="*/ 2722177 w 2726357"/>
                <a:gd name="connsiteY3" fmla="*/ 704888 h 1414112"/>
                <a:gd name="connsiteX4" fmla="*/ 2726357 w 2726357"/>
                <a:gd name="connsiteY4" fmla="*/ 707056 h 1414112"/>
                <a:gd name="connsiteX5" fmla="*/ 1363179 w 2726357"/>
                <a:gd name="connsiteY5" fmla="*/ 1414112 h 1414112"/>
                <a:gd name="connsiteX6" fmla="*/ 3650 w 2726357"/>
                <a:gd name="connsiteY6" fmla="*/ 708949 h 1414112"/>
                <a:gd name="connsiteX7" fmla="*/ 1202 w 2726357"/>
                <a:gd name="connsiteY7" fmla="*/ 708949 h 1414112"/>
                <a:gd name="connsiteX8" fmla="*/ 1202 w 2726357"/>
                <a:gd name="connsiteY8" fmla="*/ 707680 h 1414112"/>
                <a:gd name="connsiteX9" fmla="*/ 0 w 2726357"/>
                <a:gd name="connsiteY9" fmla="*/ 707056 h 1414112"/>
                <a:gd name="connsiteX10" fmla="*/ 1202 w 2726357"/>
                <a:gd name="connsiteY10" fmla="*/ 706433 h 1414112"/>
                <a:gd name="connsiteX11" fmla="*/ 1202 w 2726357"/>
                <a:gd name="connsiteY11" fmla="*/ 257537 h 1414112"/>
                <a:gd name="connsiteX12" fmla="*/ 866657 w 2726357"/>
                <a:gd name="connsiteY12" fmla="*/ 257537 h 1414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26357" h="1414112">
                  <a:moveTo>
                    <a:pt x="1363179" y="0"/>
                  </a:moveTo>
                  <a:lnTo>
                    <a:pt x="1859701" y="257537"/>
                  </a:lnTo>
                  <a:lnTo>
                    <a:pt x="2722177" y="257537"/>
                  </a:lnTo>
                  <a:lnTo>
                    <a:pt x="2722177" y="704888"/>
                  </a:lnTo>
                  <a:lnTo>
                    <a:pt x="2726357" y="707056"/>
                  </a:lnTo>
                  <a:lnTo>
                    <a:pt x="1363179" y="1414112"/>
                  </a:lnTo>
                  <a:lnTo>
                    <a:pt x="3650" y="708949"/>
                  </a:lnTo>
                  <a:lnTo>
                    <a:pt x="1202" y="708949"/>
                  </a:lnTo>
                  <a:lnTo>
                    <a:pt x="1202" y="707680"/>
                  </a:lnTo>
                  <a:lnTo>
                    <a:pt x="0" y="707056"/>
                  </a:lnTo>
                  <a:lnTo>
                    <a:pt x="1202" y="706433"/>
                  </a:lnTo>
                  <a:lnTo>
                    <a:pt x="1202" y="257537"/>
                  </a:lnTo>
                  <a:lnTo>
                    <a:pt x="866657" y="257537"/>
                  </a:lnTo>
                  <a:close/>
                </a:path>
              </a:pathLst>
            </a:custGeom>
            <a:grpFill/>
            <a:ln w="12700" cap="flat">
              <a:solidFill>
                <a:schemeClr val="accent1"/>
              </a:solidFill>
              <a:bevel/>
              <a:headEnd/>
              <a:tailEnd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62" name="Diamond 161">
              <a:extLst>
                <a:ext uri="{FF2B5EF4-FFF2-40B4-BE49-F238E27FC236}">
                  <a16:creationId xmlns:a16="http://schemas.microsoft.com/office/drawing/2014/main" id="{49ED71C0-5134-49E3-A563-9C7E858BBCDC}"/>
                </a:ext>
              </a:extLst>
            </p:cNvPr>
            <p:cNvSpPr/>
            <p:nvPr/>
          </p:nvSpPr>
          <p:spPr bwMode="auto">
            <a:xfrm>
              <a:off x="7158422" y="2521415"/>
              <a:ext cx="2726357" cy="1414112"/>
            </a:xfrm>
            <a:prstGeom prst="diamond">
              <a:avLst/>
            </a:prstGeom>
            <a:grpFill/>
            <a:ln w="12700" cap="flat" cmpd="sng" algn="ctr">
              <a:solidFill>
                <a:schemeClr val="accent1"/>
              </a:solidFill>
              <a:prstDash val="solid"/>
              <a:bevel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3" name="Freeform 292">
              <a:extLst>
                <a:ext uri="{FF2B5EF4-FFF2-40B4-BE49-F238E27FC236}">
                  <a16:creationId xmlns:a16="http://schemas.microsoft.com/office/drawing/2014/main" id="{8CE886A3-9DA4-4787-9F6B-100F2FB189DF}"/>
                </a:ext>
              </a:extLst>
            </p:cNvPr>
            <p:cNvSpPr/>
            <p:nvPr/>
          </p:nvSpPr>
          <p:spPr bwMode="auto">
            <a:xfrm>
              <a:off x="7158422" y="2057402"/>
              <a:ext cx="2726357" cy="1414113"/>
            </a:xfrm>
            <a:custGeom>
              <a:avLst/>
              <a:gdLst>
                <a:gd name="connsiteX0" fmla="*/ 1363179 w 2726357"/>
                <a:gd name="connsiteY0" fmla="*/ 0 h 1414112"/>
                <a:gd name="connsiteX1" fmla="*/ 1859701 w 2726357"/>
                <a:gd name="connsiteY1" fmla="*/ 257537 h 1414112"/>
                <a:gd name="connsiteX2" fmla="*/ 2722177 w 2726357"/>
                <a:gd name="connsiteY2" fmla="*/ 257537 h 1414112"/>
                <a:gd name="connsiteX3" fmla="*/ 2722177 w 2726357"/>
                <a:gd name="connsiteY3" fmla="*/ 704888 h 1414112"/>
                <a:gd name="connsiteX4" fmla="*/ 2726357 w 2726357"/>
                <a:gd name="connsiteY4" fmla="*/ 707056 h 1414112"/>
                <a:gd name="connsiteX5" fmla="*/ 1363179 w 2726357"/>
                <a:gd name="connsiteY5" fmla="*/ 1414112 h 1414112"/>
                <a:gd name="connsiteX6" fmla="*/ 3650 w 2726357"/>
                <a:gd name="connsiteY6" fmla="*/ 708949 h 1414112"/>
                <a:gd name="connsiteX7" fmla="*/ 1202 w 2726357"/>
                <a:gd name="connsiteY7" fmla="*/ 708949 h 1414112"/>
                <a:gd name="connsiteX8" fmla="*/ 1202 w 2726357"/>
                <a:gd name="connsiteY8" fmla="*/ 707680 h 1414112"/>
                <a:gd name="connsiteX9" fmla="*/ 0 w 2726357"/>
                <a:gd name="connsiteY9" fmla="*/ 707056 h 1414112"/>
                <a:gd name="connsiteX10" fmla="*/ 1202 w 2726357"/>
                <a:gd name="connsiteY10" fmla="*/ 706433 h 1414112"/>
                <a:gd name="connsiteX11" fmla="*/ 1202 w 2726357"/>
                <a:gd name="connsiteY11" fmla="*/ 257537 h 1414112"/>
                <a:gd name="connsiteX12" fmla="*/ 866657 w 2726357"/>
                <a:gd name="connsiteY12" fmla="*/ 257537 h 1414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26357" h="1414112">
                  <a:moveTo>
                    <a:pt x="1363179" y="0"/>
                  </a:moveTo>
                  <a:lnTo>
                    <a:pt x="1859701" y="257537"/>
                  </a:lnTo>
                  <a:lnTo>
                    <a:pt x="2722177" y="257537"/>
                  </a:lnTo>
                  <a:lnTo>
                    <a:pt x="2722177" y="704888"/>
                  </a:lnTo>
                  <a:lnTo>
                    <a:pt x="2726357" y="707056"/>
                  </a:lnTo>
                  <a:lnTo>
                    <a:pt x="1363179" y="1414112"/>
                  </a:lnTo>
                  <a:lnTo>
                    <a:pt x="3650" y="708949"/>
                  </a:lnTo>
                  <a:lnTo>
                    <a:pt x="1202" y="708949"/>
                  </a:lnTo>
                  <a:lnTo>
                    <a:pt x="1202" y="707680"/>
                  </a:lnTo>
                  <a:lnTo>
                    <a:pt x="0" y="707056"/>
                  </a:lnTo>
                  <a:lnTo>
                    <a:pt x="1202" y="706433"/>
                  </a:lnTo>
                  <a:lnTo>
                    <a:pt x="1202" y="257537"/>
                  </a:lnTo>
                  <a:lnTo>
                    <a:pt x="866657" y="257537"/>
                  </a:lnTo>
                  <a:close/>
                </a:path>
              </a:pathLst>
            </a:custGeom>
            <a:grpFill/>
            <a:ln w="12700" cap="flat">
              <a:solidFill>
                <a:schemeClr val="accent1"/>
              </a:solidFill>
              <a:bevel/>
              <a:headEnd/>
              <a:tailEnd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64" name="Diamond 163">
              <a:extLst>
                <a:ext uri="{FF2B5EF4-FFF2-40B4-BE49-F238E27FC236}">
                  <a16:creationId xmlns:a16="http://schemas.microsoft.com/office/drawing/2014/main" id="{84E251A5-BBAF-46DE-8DF0-2B3075E4BED4}"/>
                </a:ext>
              </a:extLst>
            </p:cNvPr>
            <p:cNvSpPr/>
            <p:nvPr/>
          </p:nvSpPr>
          <p:spPr bwMode="auto">
            <a:xfrm>
              <a:off x="7158422" y="1607015"/>
              <a:ext cx="2726357" cy="1414112"/>
            </a:xfrm>
            <a:prstGeom prst="diamond">
              <a:avLst/>
            </a:prstGeom>
            <a:grpFill/>
            <a:ln w="12700" cap="flat" cmpd="sng" algn="ctr">
              <a:solidFill>
                <a:schemeClr val="accent1"/>
              </a:solidFill>
              <a:prstDash val="solid"/>
              <a:bevel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65" name="chip">
            <a:extLst>
              <a:ext uri="{FF2B5EF4-FFF2-40B4-BE49-F238E27FC236}">
                <a16:creationId xmlns:a16="http://schemas.microsoft.com/office/drawing/2014/main" id="{546C44A7-F250-494D-8B01-3788526DEC2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427029" y="5558238"/>
            <a:ext cx="292091" cy="298125"/>
          </a:xfrm>
          <a:custGeom>
            <a:avLst/>
            <a:gdLst>
              <a:gd name="T0" fmla="*/ 267 w 334"/>
              <a:gd name="T1" fmla="*/ 298 h 341"/>
              <a:gd name="T2" fmla="*/ 60 w 334"/>
              <a:gd name="T3" fmla="*/ 298 h 341"/>
              <a:gd name="T4" fmla="*/ 36 w 334"/>
              <a:gd name="T5" fmla="*/ 273 h 341"/>
              <a:gd name="T6" fmla="*/ 36 w 334"/>
              <a:gd name="T7" fmla="*/ 61 h 341"/>
              <a:gd name="T8" fmla="*/ 60 w 334"/>
              <a:gd name="T9" fmla="*/ 36 h 341"/>
              <a:gd name="T10" fmla="*/ 267 w 334"/>
              <a:gd name="T11" fmla="*/ 36 h 341"/>
              <a:gd name="T12" fmla="*/ 291 w 334"/>
              <a:gd name="T13" fmla="*/ 61 h 341"/>
              <a:gd name="T14" fmla="*/ 291 w 334"/>
              <a:gd name="T15" fmla="*/ 273 h 341"/>
              <a:gd name="T16" fmla="*/ 267 w 334"/>
              <a:gd name="T17" fmla="*/ 298 h 341"/>
              <a:gd name="T18" fmla="*/ 78 w 334"/>
              <a:gd name="T19" fmla="*/ 36 h 341"/>
              <a:gd name="T20" fmla="*/ 78 w 334"/>
              <a:gd name="T21" fmla="*/ 0 h 341"/>
              <a:gd name="T22" fmla="*/ 121 w 334"/>
              <a:gd name="T23" fmla="*/ 36 h 341"/>
              <a:gd name="T24" fmla="*/ 121 w 334"/>
              <a:gd name="T25" fmla="*/ 0 h 341"/>
              <a:gd name="T26" fmla="*/ 163 w 334"/>
              <a:gd name="T27" fmla="*/ 0 h 341"/>
              <a:gd name="T28" fmla="*/ 163 w 334"/>
              <a:gd name="T29" fmla="*/ 36 h 341"/>
              <a:gd name="T30" fmla="*/ 206 w 334"/>
              <a:gd name="T31" fmla="*/ 0 h 341"/>
              <a:gd name="T32" fmla="*/ 206 w 334"/>
              <a:gd name="T33" fmla="*/ 36 h 341"/>
              <a:gd name="T34" fmla="*/ 256 w 334"/>
              <a:gd name="T35" fmla="*/ 0 h 341"/>
              <a:gd name="T36" fmla="*/ 256 w 334"/>
              <a:gd name="T37" fmla="*/ 36 h 341"/>
              <a:gd name="T38" fmla="*/ 334 w 334"/>
              <a:gd name="T39" fmla="*/ 78 h 341"/>
              <a:gd name="T40" fmla="*/ 291 w 334"/>
              <a:gd name="T41" fmla="*/ 78 h 341"/>
              <a:gd name="T42" fmla="*/ 334 w 334"/>
              <a:gd name="T43" fmla="*/ 121 h 341"/>
              <a:gd name="T44" fmla="*/ 291 w 334"/>
              <a:gd name="T45" fmla="*/ 121 h 341"/>
              <a:gd name="T46" fmla="*/ 334 w 334"/>
              <a:gd name="T47" fmla="*/ 163 h 341"/>
              <a:gd name="T48" fmla="*/ 291 w 334"/>
              <a:gd name="T49" fmla="*/ 163 h 341"/>
              <a:gd name="T50" fmla="*/ 334 w 334"/>
              <a:gd name="T51" fmla="*/ 213 h 341"/>
              <a:gd name="T52" fmla="*/ 291 w 334"/>
              <a:gd name="T53" fmla="*/ 213 h 341"/>
              <a:gd name="T54" fmla="*/ 334 w 334"/>
              <a:gd name="T55" fmla="*/ 256 h 341"/>
              <a:gd name="T56" fmla="*/ 291 w 334"/>
              <a:gd name="T57" fmla="*/ 256 h 341"/>
              <a:gd name="T58" fmla="*/ 36 w 334"/>
              <a:gd name="T59" fmla="*/ 78 h 341"/>
              <a:gd name="T60" fmla="*/ 0 w 334"/>
              <a:gd name="T61" fmla="*/ 78 h 341"/>
              <a:gd name="T62" fmla="*/ 36 w 334"/>
              <a:gd name="T63" fmla="*/ 121 h 341"/>
              <a:gd name="T64" fmla="*/ 0 w 334"/>
              <a:gd name="T65" fmla="*/ 121 h 341"/>
              <a:gd name="T66" fmla="*/ 36 w 334"/>
              <a:gd name="T67" fmla="*/ 163 h 341"/>
              <a:gd name="T68" fmla="*/ 0 w 334"/>
              <a:gd name="T69" fmla="*/ 163 h 341"/>
              <a:gd name="T70" fmla="*/ 36 w 334"/>
              <a:gd name="T71" fmla="*/ 213 h 341"/>
              <a:gd name="T72" fmla="*/ 0 w 334"/>
              <a:gd name="T73" fmla="*/ 213 h 341"/>
              <a:gd name="T74" fmla="*/ 36 w 334"/>
              <a:gd name="T75" fmla="*/ 256 h 341"/>
              <a:gd name="T76" fmla="*/ 0 w 334"/>
              <a:gd name="T77" fmla="*/ 256 h 341"/>
              <a:gd name="T78" fmla="*/ 78 w 334"/>
              <a:gd name="T79" fmla="*/ 298 h 341"/>
              <a:gd name="T80" fmla="*/ 78 w 334"/>
              <a:gd name="T81" fmla="*/ 341 h 341"/>
              <a:gd name="T82" fmla="*/ 121 w 334"/>
              <a:gd name="T83" fmla="*/ 298 h 341"/>
              <a:gd name="T84" fmla="*/ 121 w 334"/>
              <a:gd name="T85" fmla="*/ 341 h 341"/>
              <a:gd name="T86" fmla="*/ 163 w 334"/>
              <a:gd name="T87" fmla="*/ 341 h 341"/>
              <a:gd name="T88" fmla="*/ 163 w 334"/>
              <a:gd name="T89" fmla="*/ 298 h 341"/>
              <a:gd name="T90" fmla="*/ 206 w 334"/>
              <a:gd name="T91" fmla="*/ 298 h 341"/>
              <a:gd name="T92" fmla="*/ 206 w 334"/>
              <a:gd name="T93" fmla="*/ 341 h 341"/>
              <a:gd name="T94" fmla="*/ 256 w 334"/>
              <a:gd name="T95" fmla="*/ 298 h 341"/>
              <a:gd name="T96" fmla="*/ 256 w 334"/>
              <a:gd name="T97" fmla="*/ 341 h 3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34" h="341">
                <a:moveTo>
                  <a:pt x="267" y="298"/>
                </a:moveTo>
                <a:cubicBezTo>
                  <a:pt x="60" y="298"/>
                  <a:pt x="60" y="298"/>
                  <a:pt x="60" y="298"/>
                </a:cubicBezTo>
                <a:cubicBezTo>
                  <a:pt x="48" y="298"/>
                  <a:pt x="36" y="286"/>
                  <a:pt x="36" y="273"/>
                </a:cubicBezTo>
                <a:cubicBezTo>
                  <a:pt x="36" y="61"/>
                  <a:pt x="36" y="61"/>
                  <a:pt x="36" y="61"/>
                </a:cubicBezTo>
                <a:cubicBezTo>
                  <a:pt x="36" y="45"/>
                  <a:pt x="48" y="36"/>
                  <a:pt x="60" y="36"/>
                </a:cubicBezTo>
                <a:cubicBezTo>
                  <a:pt x="267" y="36"/>
                  <a:pt x="267" y="36"/>
                  <a:pt x="267" y="36"/>
                </a:cubicBezTo>
                <a:cubicBezTo>
                  <a:pt x="282" y="36"/>
                  <a:pt x="291" y="45"/>
                  <a:pt x="291" y="61"/>
                </a:cubicBezTo>
                <a:cubicBezTo>
                  <a:pt x="291" y="273"/>
                  <a:pt x="291" y="273"/>
                  <a:pt x="291" y="273"/>
                </a:cubicBezTo>
                <a:cubicBezTo>
                  <a:pt x="291" y="286"/>
                  <a:pt x="282" y="298"/>
                  <a:pt x="267" y="298"/>
                </a:cubicBezTo>
                <a:close/>
                <a:moveTo>
                  <a:pt x="78" y="36"/>
                </a:moveTo>
                <a:cubicBezTo>
                  <a:pt x="78" y="0"/>
                  <a:pt x="78" y="0"/>
                  <a:pt x="78" y="0"/>
                </a:cubicBezTo>
                <a:moveTo>
                  <a:pt x="121" y="36"/>
                </a:moveTo>
                <a:cubicBezTo>
                  <a:pt x="121" y="0"/>
                  <a:pt x="121" y="0"/>
                  <a:pt x="121" y="0"/>
                </a:cubicBezTo>
                <a:moveTo>
                  <a:pt x="163" y="0"/>
                </a:moveTo>
                <a:cubicBezTo>
                  <a:pt x="163" y="36"/>
                  <a:pt x="163" y="36"/>
                  <a:pt x="163" y="36"/>
                </a:cubicBezTo>
                <a:moveTo>
                  <a:pt x="206" y="0"/>
                </a:moveTo>
                <a:cubicBezTo>
                  <a:pt x="206" y="36"/>
                  <a:pt x="206" y="36"/>
                  <a:pt x="206" y="36"/>
                </a:cubicBezTo>
                <a:moveTo>
                  <a:pt x="256" y="0"/>
                </a:moveTo>
                <a:cubicBezTo>
                  <a:pt x="256" y="36"/>
                  <a:pt x="256" y="36"/>
                  <a:pt x="256" y="36"/>
                </a:cubicBezTo>
                <a:moveTo>
                  <a:pt x="334" y="78"/>
                </a:moveTo>
                <a:cubicBezTo>
                  <a:pt x="291" y="78"/>
                  <a:pt x="291" y="78"/>
                  <a:pt x="291" y="78"/>
                </a:cubicBezTo>
                <a:moveTo>
                  <a:pt x="334" y="121"/>
                </a:moveTo>
                <a:cubicBezTo>
                  <a:pt x="291" y="121"/>
                  <a:pt x="291" y="121"/>
                  <a:pt x="291" y="121"/>
                </a:cubicBezTo>
                <a:moveTo>
                  <a:pt x="334" y="163"/>
                </a:moveTo>
                <a:cubicBezTo>
                  <a:pt x="291" y="163"/>
                  <a:pt x="291" y="163"/>
                  <a:pt x="291" y="163"/>
                </a:cubicBezTo>
                <a:moveTo>
                  <a:pt x="334" y="213"/>
                </a:moveTo>
                <a:cubicBezTo>
                  <a:pt x="291" y="213"/>
                  <a:pt x="291" y="213"/>
                  <a:pt x="291" y="213"/>
                </a:cubicBezTo>
                <a:moveTo>
                  <a:pt x="334" y="256"/>
                </a:moveTo>
                <a:cubicBezTo>
                  <a:pt x="291" y="256"/>
                  <a:pt x="291" y="256"/>
                  <a:pt x="291" y="256"/>
                </a:cubicBezTo>
                <a:moveTo>
                  <a:pt x="36" y="78"/>
                </a:moveTo>
                <a:cubicBezTo>
                  <a:pt x="0" y="78"/>
                  <a:pt x="0" y="78"/>
                  <a:pt x="0" y="78"/>
                </a:cubicBezTo>
                <a:moveTo>
                  <a:pt x="36" y="121"/>
                </a:moveTo>
                <a:cubicBezTo>
                  <a:pt x="0" y="121"/>
                  <a:pt x="0" y="121"/>
                  <a:pt x="0" y="121"/>
                </a:cubicBezTo>
                <a:moveTo>
                  <a:pt x="36" y="163"/>
                </a:moveTo>
                <a:cubicBezTo>
                  <a:pt x="0" y="163"/>
                  <a:pt x="0" y="163"/>
                  <a:pt x="0" y="163"/>
                </a:cubicBezTo>
                <a:moveTo>
                  <a:pt x="36" y="213"/>
                </a:moveTo>
                <a:cubicBezTo>
                  <a:pt x="0" y="213"/>
                  <a:pt x="0" y="213"/>
                  <a:pt x="0" y="213"/>
                </a:cubicBezTo>
                <a:moveTo>
                  <a:pt x="36" y="256"/>
                </a:moveTo>
                <a:cubicBezTo>
                  <a:pt x="0" y="256"/>
                  <a:pt x="0" y="256"/>
                  <a:pt x="0" y="256"/>
                </a:cubicBezTo>
                <a:moveTo>
                  <a:pt x="78" y="298"/>
                </a:moveTo>
                <a:cubicBezTo>
                  <a:pt x="78" y="341"/>
                  <a:pt x="78" y="341"/>
                  <a:pt x="78" y="341"/>
                </a:cubicBezTo>
                <a:moveTo>
                  <a:pt x="121" y="298"/>
                </a:moveTo>
                <a:cubicBezTo>
                  <a:pt x="121" y="341"/>
                  <a:pt x="121" y="341"/>
                  <a:pt x="121" y="341"/>
                </a:cubicBezTo>
                <a:moveTo>
                  <a:pt x="163" y="341"/>
                </a:moveTo>
                <a:cubicBezTo>
                  <a:pt x="163" y="298"/>
                  <a:pt x="163" y="298"/>
                  <a:pt x="163" y="298"/>
                </a:cubicBezTo>
                <a:moveTo>
                  <a:pt x="206" y="298"/>
                </a:moveTo>
                <a:cubicBezTo>
                  <a:pt x="206" y="341"/>
                  <a:pt x="206" y="341"/>
                  <a:pt x="206" y="341"/>
                </a:cubicBezTo>
                <a:moveTo>
                  <a:pt x="256" y="298"/>
                </a:moveTo>
                <a:cubicBezTo>
                  <a:pt x="256" y="341"/>
                  <a:pt x="256" y="341"/>
                  <a:pt x="256" y="341"/>
                </a:cubicBezTo>
              </a:path>
            </a:pathLst>
          </a:custGeom>
          <a:noFill/>
          <a:ln w="12700" cap="sq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 vert="horz" wrap="square" lIns="89643" tIns="44821" rIns="89643" bIns="44821" numCol="1" anchor="t" anchorCtr="0" compatLnSpc="1">
            <a:prstTxWarp prst="textNoShape">
              <a:avLst/>
            </a:prstTxWarp>
          </a:bodyPr>
          <a:lstStyle/>
          <a:p>
            <a:pPr defTabSz="914344">
              <a:defRPr/>
            </a:pPr>
            <a:endParaRPr lang="en-US" sz="1765">
              <a:solidFill>
                <a:srgbClr val="0078D4"/>
              </a:solidFill>
              <a:latin typeface="Segoe UI Semilight"/>
            </a:endParaRP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6FE1A73E-81BE-47E8-9B91-6389B4F3F2CF}"/>
              </a:ext>
            </a:extLst>
          </p:cNvPr>
          <p:cNvSpPr txBox="1"/>
          <p:nvPr/>
        </p:nvSpPr>
        <p:spPr>
          <a:xfrm>
            <a:off x="7034085" y="6010717"/>
            <a:ext cx="1077976" cy="32316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82880" rtlCol="0" anchor="b" anchorCtr="0">
            <a:spAutoFit/>
          </a:bodyPr>
          <a:lstStyle>
            <a:defPPr>
              <a:defRPr lang="en-US"/>
            </a:defPPr>
            <a:lvl1pPr marR="0" lvl="0" indent="0" algn="ctr" defTabSz="895870" fontAlgn="auto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gradFill>
                  <a:gsLst>
                    <a:gs pos="8108">
                      <a:schemeClr val="bg1"/>
                    </a:gs>
                    <a:gs pos="23423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defTabSz="895848">
              <a:defRPr/>
            </a:pPr>
            <a:r>
              <a:rPr lang="en-US">
                <a:solidFill>
                  <a:prstClr val="black"/>
                </a:solidFill>
              </a:rPr>
              <a:t>CPU</a:t>
            </a:r>
          </a:p>
        </p:txBody>
      </p:sp>
      <p:grpSp>
        <p:nvGrpSpPr>
          <p:cNvPr id="167" name="Group 166">
            <a:extLst>
              <a:ext uri="{FF2B5EF4-FFF2-40B4-BE49-F238E27FC236}">
                <a16:creationId xmlns:a16="http://schemas.microsoft.com/office/drawing/2014/main" id="{F1589E6C-D85B-49A5-A029-25F932D25DA0}"/>
              </a:ext>
            </a:extLst>
          </p:cNvPr>
          <p:cNvGrpSpPr>
            <a:grpSpLocks noChangeAspect="1"/>
          </p:cNvGrpSpPr>
          <p:nvPr/>
        </p:nvGrpSpPr>
        <p:grpSpPr>
          <a:xfrm>
            <a:off x="9133638" y="5608649"/>
            <a:ext cx="309263" cy="197305"/>
            <a:chOff x="5842028" y="2023300"/>
            <a:chExt cx="518306" cy="330673"/>
          </a:xfrm>
        </p:grpSpPr>
        <p:sp>
          <p:nvSpPr>
            <p:cNvPr id="168" name="Rectangle: Single Corner Rounded 196">
              <a:extLst>
                <a:ext uri="{FF2B5EF4-FFF2-40B4-BE49-F238E27FC236}">
                  <a16:creationId xmlns:a16="http://schemas.microsoft.com/office/drawing/2014/main" id="{0EBD13A4-A072-4B45-AA8B-171873AC9137}"/>
                </a:ext>
              </a:extLst>
            </p:cNvPr>
            <p:cNvSpPr/>
            <p:nvPr/>
          </p:nvSpPr>
          <p:spPr bwMode="auto">
            <a:xfrm>
              <a:off x="5842028" y="2023300"/>
              <a:ext cx="518306" cy="284908"/>
            </a:xfrm>
            <a:prstGeom prst="round1Rect">
              <a:avLst>
                <a:gd name="adj" fmla="val 19322"/>
              </a:avLst>
            </a:prstGeom>
            <a:noFill/>
            <a:ln w="12700" cap="sq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9643" tIns="44821" rIns="89643" bIns="4482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44">
                <a:defRPr/>
              </a:pPr>
              <a:endParaRPr lang="en-US" sz="1765">
                <a:solidFill>
                  <a:srgbClr val="0078D4"/>
                </a:solidFill>
                <a:latin typeface="Segoe UI Semilight"/>
              </a:endParaRPr>
            </a:p>
          </p:txBody>
        </p:sp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0F27CDDF-C47E-4696-B342-8FA4524C4580}"/>
                </a:ext>
              </a:extLst>
            </p:cNvPr>
            <p:cNvGrpSpPr/>
            <p:nvPr/>
          </p:nvGrpSpPr>
          <p:grpSpPr>
            <a:xfrm>
              <a:off x="5886781" y="2308208"/>
              <a:ext cx="423110" cy="45765"/>
              <a:chOff x="2805041" y="5363936"/>
              <a:chExt cx="937405" cy="125178"/>
            </a:xfrm>
          </p:grpSpPr>
          <p:grpSp>
            <p:nvGrpSpPr>
              <p:cNvPr id="172" name="Group 171">
                <a:extLst>
                  <a:ext uri="{FF2B5EF4-FFF2-40B4-BE49-F238E27FC236}">
                    <a16:creationId xmlns:a16="http://schemas.microsoft.com/office/drawing/2014/main" id="{A6CFC05F-6872-4FBB-89D6-F57EA393605E}"/>
                  </a:ext>
                </a:extLst>
              </p:cNvPr>
              <p:cNvGrpSpPr/>
              <p:nvPr/>
            </p:nvGrpSpPr>
            <p:grpSpPr>
              <a:xfrm>
                <a:off x="2805041" y="5363936"/>
                <a:ext cx="304800" cy="125178"/>
                <a:chOff x="685111" y="5810249"/>
                <a:chExt cx="304800" cy="356348"/>
              </a:xfrm>
            </p:grpSpPr>
            <p:cxnSp>
              <p:nvCxnSpPr>
                <p:cNvPr id="182" name="Straight Connector 181">
                  <a:extLst>
                    <a:ext uri="{FF2B5EF4-FFF2-40B4-BE49-F238E27FC236}">
                      <a16:creationId xmlns:a16="http://schemas.microsoft.com/office/drawing/2014/main" id="{2505F2A8-71FC-44B1-9548-67891F6AD9F5}"/>
                    </a:ext>
                  </a:extLst>
                </p:cNvPr>
                <p:cNvCxnSpPr/>
                <p:nvPr/>
              </p:nvCxnSpPr>
              <p:spPr>
                <a:xfrm>
                  <a:off x="685111" y="5810249"/>
                  <a:ext cx="0" cy="356348"/>
                </a:xfrm>
                <a:prstGeom prst="line">
                  <a:avLst/>
                </a:prstGeom>
                <a:noFill/>
                <a:ln w="12700" cap="sq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</p:spPr>
            </p:cxnSp>
            <p:cxnSp>
              <p:nvCxnSpPr>
                <p:cNvPr id="183" name="Straight Connector 182">
                  <a:extLst>
                    <a:ext uri="{FF2B5EF4-FFF2-40B4-BE49-F238E27FC236}">
                      <a16:creationId xmlns:a16="http://schemas.microsoft.com/office/drawing/2014/main" id="{B68CCFF2-C2CA-40FD-938D-E22871DAC374}"/>
                    </a:ext>
                  </a:extLst>
                </p:cNvPr>
                <p:cNvCxnSpPr/>
                <p:nvPr/>
              </p:nvCxnSpPr>
              <p:spPr>
                <a:xfrm>
                  <a:off x="837511" y="5810249"/>
                  <a:ext cx="0" cy="356348"/>
                </a:xfrm>
                <a:prstGeom prst="line">
                  <a:avLst/>
                </a:prstGeom>
                <a:noFill/>
                <a:ln w="12700" cap="sq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</p:spPr>
            </p:cxnSp>
            <p:cxnSp>
              <p:nvCxnSpPr>
                <p:cNvPr id="184" name="Straight Connector 183">
                  <a:extLst>
                    <a:ext uri="{FF2B5EF4-FFF2-40B4-BE49-F238E27FC236}">
                      <a16:creationId xmlns:a16="http://schemas.microsoft.com/office/drawing/2014/main" id="{9AD160C1-8094-4632-9D2B-7130DA283C33}"/>
                    </a:ext>
                  </a:extLst>
                </p:cNvPr>
                <p:cNvCxnSpPr/>
                <p:nvPr/>
              </p:nvCxnSpPr>
              <p:spPr>
                <a:xfrm>
                  <a:off x="989911" y="5810249"/>
                  <a:ext cx="0" cy="356348"/>
                </a:xfrm>
                <a:prstGeom prst="line">
                  <a:avLst/>
                </a:prstGeom>
                <a:noFill/>
                <a:ln w="12700" cap="sq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</p:spPr>
            </p:cxnSp>
          </p:grpSp>
          <p:grpSp>
            <p:nvGrpSpPr>
              <p:cNvPr id="173" name="Group 172">
                <a:extLst>
                  <a:ext uri="{FF2B5EF4-FFF2-40B4-BE49-F238E27FC236}">
                    <a16:creationId xmlns:a16="http://schemas.microsoft.com/office/drawing/2014/main" id="{8DB1B653-210F-455A-A066-BC56B2684AA8}"/>
                  </a:ext>
                </a:extLst>
              </p:cNvPr>
              <p:cNvGrpSpPr/>
              <p:nvPr/>
            </p:nvGrpSpPr>
            <p:grpSpPr>
              <a:xfrm>
                <a:off x="3437646" y="5363936"/>
                <a:ext cx="304800" cy="125178"/>
                <a:chOff x="685111" y="5810249"/>
                <a:chExt cx="304800" cy="356348"/>
              </a:xfrm>
            </p:grpSpPr>
            <p:cxnSp>
              <p:nvCxnSpPr>
                <p:cNvPr id="174" name="Straight Connector 173">
                  <a:extLst>
                    <a:ext uri="{FF2B5EF4-FFF2-40B4-BE49-F238E27FC236}">
                      <a16:creationId xmlns:a16="http://schemas.microsoft.com/office/drawing/2014/main" id="{37FF5A27-2594-4C54-A550-674D72E5683D}"/>
                    </a:ext>
                  </a:extLst>
                </p:cNvPr>
                <p:cNvCxnSpPr/>
                <p:nvPr/>
              </p:nvCxnSpPr>
              <p:spPr>
                <a:xfrm>
                  <a:off x="685111" y="5810249"/>
                  <a:ext cx="0" cy="356348"/>
                </a:xfrm>
                <a:prstGeom prst="line">
                  <a:avLst/>
                </a:prstGeom>
                <a:noFill/>
                <a:ln w="12700" cap="sq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</p:spPr>
            </p:cxnSp>
            <p:cxnSp>
              <p:nvCxnSpPr>
                <p:cNvPr id="175" name="Straight Connector 174">
                  <a:extLst>
                    <a:ext uri="{FF2B5EF4-FFF2-40B4-BE49-F238E27FC236}">
                      <a16:creationId xmlns:a16="http://schemas.microsoft.com/office/drawing/2014/main" id="{986524CE-982A-4D4B-93C4-4EE465DA6375}"/>
                    </a:ext>
                  </a:extLst>
                </p:cNvPr>
                <p:cNvCxnSpPr/>
                <p:nvPr/>
              </p:nvCxnSpPr>
              <p:spPr>
                <a:xfrm>
                  <a:off x="837511" y="5810249"/>
                  <a:ext cx="0" cy="356348"/>
                </a:xfrm>
                <a:prstGeom prst="line">
                  <a:avLst/>
                </a:prstGeom>
                <a:noFill/>
                <a:ln w="12700" cap="sq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</p:spPr>
            </p:cxnSp>
            <p:cxnSp>
              <p:nvCxnSpPr>
                <p:cNvPr id="176" name="Straight Connector 175">
                  <a:extLst>
                    <a:ext uri="{FF2B5EF4-FFF2-40B4-BE49-F238E27FC236}">
                      <a16:creationId xmlns:a16="http://schemas.microsoft.com/office/drawing/2014/main" id="{9560C908-8CA5-4342-B598-14FE5E46A210}"/>
                    </a:ext>
                  </a:extLst>
                </p:cNvPr>
                <p:cNvCxnSpPr/>
                <p:nvPr/>
              </p:nvCxnSpPr>
              <p:spPr>
                <a:xfrm>
                  <a:off x="989911" y="5810249"/>
                  <a:ext cx="0" cy="356348"/>
                </a:xfrm>
                <a:prstGeom prst="line">
                  <a:avLst/>
                </a:prstGeom>
                <a:noFill/>
                <a:ln w="12700" cap="sq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</p:spPr>
            </p:cxnSp>
          </p:grpSp>
        </p:grpSp>
        <p:sp>
          <p:nvSpPr>
            <p:cNvPr id="170" name="Oval 169">
              <a:extLst>
                <a:ext uri="{FF2B5EF4-FFF2-40B4-BE49-F238E27FC236}">
                  <a16:creationId xmlns:a16="http://schemas.microsoft.com/office/drawing/2014/main" id="{7766BE03-F969-4068-B164-314FCC3BB390}"/>
                </a:ext>
              </a:extLst>
            </p:cNvPr>
            <p:cNvSpPr/>
            <p:nvPr/>
          </p:nvSpPr>
          <p:spPr bwMode="auto">
            <a:xfrm>
              <a:off x="6135172" y="2083744"/>
              <a:ext cx="158117" cy="164020"/>
            </a:xfrm>
            <a:prstGeom prst="ellipse">
              <a:avLst/>
            </a:prstGeom>
            <a:noFill/>
            <a:ln w="12700" cap="sq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9643" tIns="44821" rIns="89643" bIns="4482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44">
                <a:defRPr/>
              </a:pPr>
              <a:endParaRPr lang="en-US" sz="1765">
                <a:solidFill>
                  <a:srgbClr val="0078D4"/>
                </a:solidFill>
                <a:latin typeface="Segoe UI Semilight"/>
              </a:endParaRPr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9413326E-7322-4307-94CE-4C000F33A329}"/>
                </a:ext>
              </a:extLst>
            </p:cNvPr>
            <p:cNvSpPr/>
            <p:nvPr/>
          </p:nvSpPr>
          <p:spPr bwMode="auto">
            <a:xfrm>
              <a:off x="5911951" y="2129519"/>
              <a:ext cx="156176" cy="80034"/>
            </a:xfrm>
            <a:prstGeom prst="rect">
              <a:avLst/>
            </a:prstGeom>
            <a:noFill/>
            <a:ln w="12700" cap="sq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9643" tIns="44821" rIns="89643" bIns="4482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44">
                <a:defRPr/>
              </a:pPr>
              <a:endParaRPr lang="en-US" sz="1765">
                <a:solidFill>
                  <a:srgbClr val="0078D4"/>
                </a:solidFill>
                <a:latin typeface="Segoe UI Semilight"/>
              </a:endParaRPr>
            </a:p>
          </p:txBody>
        </p:sp>
      </p:grpSp>
      <p:sp>
        <p:nvSpPr>
          <p:cNvPr id="186" name="TextBox 185">
            <a:extLst>
              <a:ext uri="{FF2B5EF4-FFF2-40B4-BE49-F238E27FC236}">
                <a16:creationId xmlns:a16="http://schemas.microsoft.com/office/drawing/2014/main" id="{92B7D5BA-12F0-4B9E-81D4-2BDF6D9A41B2}"/>
              </a:ext>
            </a:extLst>
          </p:cNvPr>
          <p:cNvSpPr txBox="1"/>
          <p:nvPr/>
        </p:nvSpPr>
        <p:spPr>
          <a:xfrm>
            <a:off x="8396821" y="6010717"/>
            <a:ext cx="1782891" cy="32316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82880" rtlCol="0" anchor="b" anchorCtr="0">
            <a:spAutoFit/>
          </a:bodyPr>
          <a:lstStyle>
            <a:defPPr>
              <a:defRPr lang="en-US"/>
            </a:defPPr>
            <a:lvl1pPr marR="0" lvl="0" indent="0" algn="ctr" defTabSz="895870" fontAlgn="auto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gradFill>
                  <a:gsLst>
                    <a:gs pos="8108">
                      <a:schemeClr val="bg1"/>
                    </a:gs>
                    <a:gs pos="23423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defTabSz="895848">
              <a:defRPr/>
            </a:pPr>
            <a:r>
              <a:rPr lang="en-US">
                <a:solidFill>
                  <a:prstClr val="black"/>
                </a:solidFill>
              </a:rPr>
              <a:t>GPU</a:t>
            </a:r>
          </a:p>
        </p:txBody>
      </p: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F12BB1C3-3A71-4836-8BA5-4FBC592B3976}"/>
              </a:ext>
            </a:extLst>
          </p:cNvPr>
          <p:cNvGrpSpPr>
            <a:grpSpLocks noChangeAspect="1"/>
          </p:cNvGrpSpPr>
          <p:nvPr/>
        </p:nvGrpSpPr>
        <p:grpSpPr>
          <a:xfrm>
            <a:off x="10981171" y="5558238"/>
            <a:ext cx="298125" cy="298125"/>
            <a:chOff x="10035278" y="3218678"/>
            <a:chExt cx="247374" cy="247374"/>
          </a:xfrm>
        </p:grpSpPr>
        <p:grpSp>
          <p:nvGrpSpPr>
            <p:cNvPr id="188" name="Group 187">
              <a:extLst>
                <a:ext uri="{FF2B5EF4-FFF2-40B4-BE49-F238E27FC236}">
                  <a16:creationId xmlns:a16="http://schemas.microsoft.com/office/drawing/2014/main" id="{FDDE172E-CCA0-48A8-9D16-80D05EAF9B72}"/>
                </a:ext>
              </a:extLst>
            </p:cNvPr>
            <p:cNvGrpSpPr/>
            <p:nvPr/>
          </p:nvGrpSpPr>
          <p:grpSpPr>
            <a:xfrm>
              <a:off x="10035278" y="3218678"/>
              <a:ext cx="247374" cy="247374"/>
              <a:chOff x="3485441" y="4505566"/>
              <a:chExt cx="712494" cy="712494"/>
            </a:xfrm>
          </p:grpSpPr>
          <p:sp>
            <p:nvSpPr>
              <p:cNvPr id="190" name="Rectangle 189">
                <a:extLst>
                  <a:ext uri="{FF2B5EF4-FFF2-40B4-BE49-F238E27FC236}">
                    <a16:creationId xmlns:a16="http://schemas.microsoft.com/office/drawing/2014/main" id="{50E210A0-6AD9-4423-B364-F7173D35BFF8}"/>
                  </a:ext>
                </a:extLst>
              </p:cNvPr>
              <p:cNvSpPr/>
              <p:nvPr/>
            </p:nvSpPr>
            <p:spPr bwMode="auto">
              <a:xfrm>
                <a:off x="3565593" y="4585718"/>
                <a:ext cx="552190" cy="552190"/>
              </a:xfrm>
              <a:prstGeom prst="rect">
                <a:avLst/>
              </a:prstGeom>
              <a:noFill/>
              <a:ln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449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000">
                  <a:solidFill>
                    <a:srgbClr val="0078D4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91" name="Group 190">
                <a:extLst>
                  <a:ext uri="{FF2B5EF4-FFF2-40B4-BE49-F238E27FC236}">
                    <a16:creationId xmlns:a16="http://schemas.microsoft.com/office/drawing/2014/main" id="{5AB875FE-69B2-443A-B915-D1159822C981}"/>
                  </a:ext>
                </a:extLst>
              </p:cNvPr>
              <p:cNvGrpSpPr/>
              <p:nvPr/>
            </p:nvGrpSpPr>
            <p:grpSpPr>
              <a:xfrm>
                <a:off x="3485441" y="4677750"/>
                <a:ext cx="712494" cy="368126"/>
                <a:chOff x="3485441" y="4677750"/>
                <a:chExt cx="712494" cy="368126"/>
              </a:xfrm>
            </p:grpSpPr>
            <p:grpSp>
              <p:nvGrpSpPr>
                <p:cNvPr id="203" name="Group 202">
                  <a:extLst>
                    <a:ext uri="{FF2B5EF4-FFF2-40B4-BE49-F238E27FC236}">
                      <a16:creationId xmlns:a16="http://schemas.microsoft.com/office/drawing/2014/main" id="{0171CC51-861D-492C-9BAA-51702BB72645}"/>
                    </a:ext>
                  </a:extLst>
                </p:cNvPr>
                <p:cNvGrpSpPr/>
                <p:nvPr/>
              </p:nvGrpSpPr>
              <p:grpSpPr>
                <a:xfrm>
                  <a:off x="4117783" y="4677750"/>
                  <a:ext cx="80152" cy="368126"/>
                  <a:chOff x="4117783" y="4677750"/>
                  <a:chExt cx="129006" cy="368126"/>
                </a:xfrm>
              </p:grpSpPr>
              <p:cxnSp>
                <p:nvCxnSpPr>
                  <p:cNvPr id="209" name="Straight Connector 208">
                    <a:extLst>
                      <a:ext uri="{FF2B5EF4-FFF2-40B4-BE49-F238E27FC236}">
                        <a16:creationId xmlns:a16="http://schemas.microsoft.com/office/drawing/2014/main" id="{078CFD8A-50E4-46BB-A252-71FDB5CC5F51}"/>
                      </a:ext>
                    </a:extLst>
                  </p:cNvPr>
                  <p:cNvCxnSpPr/>
                  <p:nvPr/>
                </p:nvCxnSpPr>
                <p:spPr>
                  <a:xfrm>
                    <a:off x="4117783" y="4677750"/>
                    <a:ext cx="12900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1"/>
                    </a:solidFill>
                    <a:prstDash val="solid"/>
                    <a:headEnd type="none" w="lg" len="med"/>
                    <a:tailEnd type="none" w="lg" len="med"/>
                  </a:ln>
                  <a:effectLst/>
                </p:spPr>
              </p:cxnSp>
              <p:cxnSp>
                <p:nvCxnSpPr>
                  <p:cNvPr id="210" name="Straight Connector 209">
                    <a:extLst>
                      <a:ext uri="{FF2B5EF4-FFF2-40B4-BE49-F238E27FC236}">
                        <a16:creationId xmlns:a16="http://schemas.microsoft.com/office/drawing/2014/main" id="{DB693FF8-4E91-4B5B-A9AF-E79DB74BCD31}"/>
                      </a:ext>
                    </a:extLst>
                  </p:cNvPr>
                  <p:cNvCxnSpPr/>
                  <p:nvPr/>
                </p:nvCxnSpPr>
                <p:spPr>
                  <a:xfrm>
                    <a:off x="4117783" y="4769781"/>
                    <a:ext cx="12900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1"/>
                    </a:solidFill>
                    <a:prstDash val="solid"/>
                    <a:headEnd type="none" w="lg" len="med"/>
                    <a:tailEnd type="none" w="lg" len="med"/>
                  </a:ln>
                  <a:effectLst/>
                </p:spPr>
              </p:cxnSp>
              <p:cxnSp>
                <p:nvCxnSpPr>
                  <p:cNvPr id="211" name="Straight Connector 210">
                    <a:extLst>
                      <a:ext uri="{FF2B5EF4-FFF2-40B4-BE49-F238E27FC236}">
                        <a16:creationId xmlns:a16="http://schemas.microsoft.com/office/drawing/2014/main" id="{6E796289-7621-4807-8F15-401375341D94}"/>
                      </a:ext>
                    </a:extLst>
                  </p:cNvPr>
                  <p:cNvCxnSpPr/>
                  <p:nvPr/>
                </p:nvCxnSpPr>
                <p:spPr>
                  <a:xfrm>
                    <a:off x="4117783" y="4953845"/>
                    <a:ext cx="12900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1"/>
                    </a:solidFill>
                    <a:prstDash val="solid"/>
                    <a:headEnd type="none" w="lg" len="med"/>
                    <a:tailEnd type="none" w="lg" len="med"/>
                  </a:ln>
                  <a:effectLst/>
                </p:spPr>
              </p:cxnSp>
              <p:cxnSp>
                <p:nvCxnSpPr>
                  <p:cNvPr id="212" name="Straight Connector 211">
                    <a:extLst>
                      <a:ext uri="{FF2B5EF4-FFF2-40B4-BE49-F238E27FC236}">
                        <a16:creationId xmlns:a16="http://schemas.microsoft.com/office/drawing/2014/main" id="{CE7FA99D-89F9-487E-89D7-7819EE41C335}"/>
                      </a:ext>
                    </a:extLst>
                  </p:cNvPr>
                  <p:cNvCxnSpPr/>
                  <p:nvPr/>
                </p:nvCxnSpPr>
                <p:spPr>
                  <a:xfrm>
                    <a:off x="4117783" y="5045876"/>
                    <a:ext cx="12900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1"/>
                    </a:solidFill>
                    <a:prstDash val="solid"/>
                    <a:headEnd type="none" w="lg" len="med"/>
                    <a:tailEnd type="none" w="lg" len="med"/>
                  </a:ln>
                  <a:effectLst/>
                </p:spPr>
              </p:cxnSp>
            </p:grpSp>
            <p:grpSp>
              <p:nvGrpSpPr>
                <p:cNvPr id="204" name="Group 203">
                  <a:extLst>
                    <a:ext uri="{FF2B5EF4-FFF2-40B4-BE49-F238E27FC236}">
                      <a16:creationId xmlns:a16="http://schemas.microsoft.com/office/drawing/2014/main" id="{3557123D-B064-4DF7-B28E-C1D2ACC13AF8}"/>
                    </a:ext>
                  </a:extLst>
                </p:cNvPr>
                <p:cNvGrpSpPr/>
                <p:nvPr/>
              </p:nvGrpSpPr>
              <p:grpSpPr>
                <a:xfrm>
                  <a:off x="3485441" y="4677750"/>
                  <a:ext cx="80152" cy="368126"/>
                  <a:chOff x="4117783" y="4677750"/>
                  <a:chExt cx="129006" cy="368126"/>
                </a:xfrm>
              </p:grpSpPr>
              <p:cxnSp>
                <p:nvCxnSpPr>
                  <p:cNvPr id="205" name="Straight Connector 204">
                    <a:extLst>
                      <a:ext uri="{FF2B5EF4-FFF2-40B4-BE49-F238E27FC236}">
                        <a16:creationId xmlns:a16="http://schemas.microsoft.com/office/drawing/2014/main" id="{BA3C539E-FE4D-4C51-9F31-7E8EB8066A1D}"/>
                      </a:ext>
                    </a:extLst>
                  </p:cNvPr>
                  <p:cNvCxnSpPr/>
                  <p:nvPr/>
                </p:nvCxnSpPr>
                <p:spPr>
                  <a:xfrm>
                    <a:off x="4117783" y="4677750"/>
                    <a:ext cx="12900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1"/>
                    </a:solidFill>
                    <a:prstDash val="solid"/>
                    <a:headEnd type="none" w="lg" len="med"/>
                    <a:tailEnd type="none" w="lg" len="med"/>
                  </a:ln>
                  <a:effectLst/>
                </p:spPr>
              </p:cxnSp>
              <p:cxnSp>
                <p:nvCxnSpPr>
                  <p:cNvPr id="206" name="Straight Connector 205">
                    <a:extLst>
                      <a:ext uri="{FF2B5EF4-FFF2-40B4-BE49-F238E27FC236}">
                        <a16:creationId xmlns:a16="http://schemas.microsoft.com/office/drawing/2014/main" id="{2843EBEF-B48D-41D6-A678-4660F48E1282}"/>
                      </a:ext>
                    </a:extLst>
                  </p:cNvPr>
                  <p:cNvCxnSpPr/>
                  <p:nvPr/>
                </p:nvCxnSpPr>
                <p:spPr>
                  <a:xfrm>
                    <a:off x="4117783" y="4769781"/>
                    <a:ext cx="12900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1"/>
                    </a:solidFill>
                    <a:prstDash val="solid"/>
                    <a:headEnd type="none" w="lg" len="med"/>
                    <a:tailEnd type="none" w="lg" len="med"/>
                  </a:ln>
                  <a:effectLst/>
                </p:spPr>
              </p:cxnSp>
              <p:cxnSp>
                <p:nvCxnSpPr>
                  <p:cNvPr id="207" name="Straight Connector 206">
                    <a:extLst>
                      <a:ext uri="{FF2B5EF4-FFF2-40B4-BE49-F238E27FC236}">
                        <a16:creationId xmlns:a16="http://schemas.microsoft.com/office/drawing/2014/main" id="{AB234DF9-C7A8-4767-B671-4B340D1206A2}"/>
                      </a:ext>
                    </a:extLst>
                  </p:cNvPr>
                  <p:cNvCxnSpPr/>
                  <p:nvPr/>
                </p:nvCxnSpPr>
                <p:spPr>
                  <a:xfrm>
                    <a:off x="4117783" y="4953845"/>
                    <a:ext cx="12900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1"/>
                    </a:solidFill>
                    <a:prstDash val="solid"/>
                    <a:headEnd type="none" w="lg" len="med"/>
                    <a:tailEnd type="none" w="lg" len="med"/>
                  </a:ln>
                  <a:effectLst/>
                </p:spPr>
              </p:cxnSp>
              <p:cxnSp>
                <p:nvCxnSpPr>
                  <p:cNvPr id="208" name="Straight Connector 207">
                    <a:extLst>
                      <a:ext uri="{FF2B5EF4-FFF2-40B4-BE49-F238E27FC236}">
                        <a16:creationId xmlns:a16="http://schemas.microsoft.com/office/drawing/2014/main" id="{BC6A10DF-481C-4F92-9542-1E55F333B3D6}"/>
                      </a:ext>
                    </a:extLst>
                  </p:cNvPr>
                  <p:cNvCxnSpPr/>
                  <p:nvPr/>
                </p:nvCxnSpPr>
                <p:spPr>
                  <a:xfrm>
                    <a:off x="4117783" y="5045876"/>
                    <a:ext cx="12900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1"/>
                    </a:solidFill>
                    <a:prstDash val="solid"/>
                    <a:headEnd type="none" w="lg" len="med"/>
                    <a:tailEnd type="none" w="lg" len="med"/>
                  </a:ln>
                  <a:effectLst/>
                </p:spPr>
              </p:cxnSp>
            </p:grpSp>
          </p:grpSp>
          <p:grpSp>
            <p:nvGrpSpPr>
              <p:cNvPr id="192" name="Group 191">
                <a:extLst>
                  <a:ext uri="{FF2B5EF4-FFF2-40B4-BE49-F238E27FC236}">
                    <a16:creationId xmlns:a16="http://schemas.microsoft.com/office/drawing/2014/main" id="{60AC54D5-7697-4009-892C-65FEA2B28659}"/>
                  </a:ext>
                </a:extLst>
              </p:cNvPr>
              <p:cNvGrpSpPr/>
              <p:nvPr/>
            </p:nvGrpSpPr>
            <p:grpSpPr>
              <a:xfrm rot="5400000">
                <a:off x="3480396" y="4677750"/>
                <a:ext cx="712494" cy="368126"/>
                <a:chOff x="3485441" y="4677750"/>
                <a:chExt cx="712494" cy="368126"/>
              </a:xfrm>
            </p:grpSpPr>
            <p:grpSp>
              <p:nvGrpSpPr>
                <p:cNvPr id="193" name="Group 192">
                  <a:extLst>
                    <a:ext uri="{FF2B5EF4-FFF2-40B4-BE49-F238E27FC236}">
                      <a16:creationId xmlns:a16="http://schemas.microsoft.com/office/drawing/2014/main" id="{8782A210-FE79-4D95-9BB8-6C87F856EA67}"/>
                    </a:ext>
                  </a:extLst>
                </p:cNvPr>
                <p:cNvGrpSpPr/>
                <p:nvPr/>
              </p:nvGrpSpPr>
              <p:grpSpPr>
                <a:xfrm>
                  <a:off x="4117783" y="4677750"/>
                  <a:ext cx="80152" cy="368126"/>
                  <a:chOff x="4117783" y="4677750"/>
                  <a:chExt cx="129006" cy="368126"/>
                </a:xfrm>
              </p:grpSpPr>
              <p:cxnSp>
                <p:nvCxnSpPr>
                  <p:cNvPr id="199" name="Straight Connector 198">
                    <a:extLst>
                      <a:ext uri="{FF2B5EF4-FFF2-40B4-BE49-F238E27FC236}">
                        <a16:creationId xmlns:a16="http://schemas.microsoft.com/office/drawing/2014/main" id="{F0472AC2-BE03-4EA0-89C5-910A74B02309}"/>
                      </a:ext>
                    </a:extLst>
                  </p:cNvPr>
                  <p:cNvCxnSpPr/>
                  <p:nvPr/>
                </p:nvCxnSpPr>
                <p:spPr>
                  <a:xfrm>
                    <a:off x="4117783" y="4677750"/>
                    <a:ext cx="12900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1"/>
                    </a:solidFill>
                    <a:prstDash val="solid"/>
                    <a:headEnd type="none" w="lg" len="med"/>
                    <a:tailEnd type="none" w="lg" len="med"/>
                  </a:ln>
                  <a:effectLst/>
                </p:spPr>
              </p:cxnSp>
              <p:cxnSp>
                <p:nvCxnSpPr>
                  <p:cNvPr id="200" name="Straight Connector 199">
                    <a:extLst>
                      <a:ext uri="{FF2B5EF4-FFF2-40B4-BE49-F238E27FC236}">
                        <a16:creationId xmlns:a16="http://schemas.microsoft.com/office/drawing/2014/main" id="{7D90B141-6893-406A-AFC2-9F833E199F79}"/>
                      </a:ext>
                    </a:extLst>
                  </p:cNvPr>
                  <p:cNvCxnSpPr/>
                  <p:nvPr/>
                </p:nvCxnSpPr>
                <p:spPr>
                  <a:xfrm>
                    <a:off x="4117783" y="4769781"/>
                    <a:ext cx="12900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1"/>
                    </a:solidFill>
                    <a:prstDash val="solid"/>
                    <a:headEnd type="none" w="lg" len="med"/>
                    <a:tailEnd type="none" w="lg" len="med"/>
                  </a:ln>
                  <a:effectLst/>
                </p:spPr>
              </p:cxnSp>
              <p:cxnSp>
                <p:nvCxnSpPr>
                  <p:cNvPr id="201" name="Straight Connector 200">
                    <a:extLst>
                      <a:ext uri="{FF2B5EF4-FFF2-40B4-BE49-F238E27FC236}">
                        <a16:creationId xmlns:a16="http://schemas.microsoft.com/office/drawing/2014/main" id="{CCB5D60F-2F25-4768-B881-CE34355F466D}"/>
                      </a:ext>
                    </a:extLst>
                  </p:cNvPr>
                  <p:cNvCxnSpPr/>
                  <p:nvPr/>
                </p:nvCxnSpPr>
                <p:spPr>
                  <a:xfrm>
                    <a:off x="4117783" y="4953845"/>
                    <a:ext cx="12900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1"/>
                    </a:solidFill>
                    <a:prstDash val="solid"/>
                    <a:headEnd type="none" w="lg" len="med"/>
                    <a:tailEnd type="none" w="lg" len="med"/>
                  </a:ln>
                  <a:effectLst/>
                </p:spPr>
              </p:cxnSp>
              <p:cxnSp>
                <p:nvCxnSpPr>
                  <p:cNvPr id="202" name="Straight Connector 201">
                    <a:extLst>
                      <a:ext uri="{FF2B5EF4-FFF2-40B4-BE49-F238E27FC236}">
                        <a16:creationId xmlns:a16="http://schemas.microsoft.com/office/drawing/2014/main" id="{E5E65E6C-167C-4365-9297-66C6732583FC}"/>
                      </a:ext>
                    </a:extLst>
                  </p:cNvPr>
                  <p:cNvCxnSpPr/>
                  <p:nvPr/>
                </p:nvCxnSpPr>
                <p:spPr>
                  <a:xfrm>
                    <a:off x="4117783" y="5045876"/>
                    <a:ext cx="12900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1"/>
                    </a:solidFill>
                    <a:prstDash val="solid"/>
                    <a:headEnd type="none" w="lg" len="med"/>
                    <a:tailEnd type="none" w="lg" len="med"/>
                  </a:ln>
                  <a:effectLst/>
                </p:spPr>
              </p:cxnSp>
            </p:grpSp>
            <p:grpSp>
              <p:nvGrpSpPr>
                <p:cNvPr id="194" name="Group 193">
                  <a:extLst>
                    <a:ext uri="{FF2B5EF4-FFF2-40B4-BE49-F238E27FC236}">
                      <a16:creationId xmlns:a16="http://schemas.microsoft.com/office/drawing/2014/main" id="{55E3BBBC-AE0C-48B0-BFF3-A8D6F216B62D}"/>
                    </a:ext>
                  </a:extLst>
                </p:cNvPr>
                <p:cNvGrpSpPr/>
                <p:nvPr/>
              </p:nvGrpSpPr>
              <p:grpSpPr>
                <a:xfrm>
                  <a:off x="3485441" y="4677750"/>
                  <a:ext cx="80152" cy="368126"/>
                  <a:chOff x="4117783" y="4677750"/>
                  <a:chExt cx="129006" cy="368126"/>
                </a:xfrm>
              </p:grpSpPr>
              <p:cxnSp>
                <p:nvCxnSpPr>
                  <p:cNvPr id="195" name="Straight Connector 194">
                    <a:extLst>
                      <a:ext uri="{FF2B5EF4-FFF2-40B4-BE49-F238E27FC236}">
                        <a16:creationId xmlns:a16="http://schemas.microsoft.com/office/drawing/2014/main" id="{94FBD7ED-33C3-4DE3-AF23-FE37B78CB3EA}"/>
                      </a:ext>
                    </a:extLst>
                  </p:cNvPr>
                  <p:cNvCxnSpPr/>
                  <p:nvPr/>
                </p:nvCxnSpPr>
                <p:spPr>
                  <a:xfrm>
                    <a:off x="4117783" y="4677750"/>
                    <a:ext cx="12900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1"/>
                    </a:solidFill>
                    <a:prstDash val="solid"/>
                    <a:headEnd type="none" w="lg" len="med"/>
                    <a:tailEnd type="none" w="lg" len="med"/>
                  </a:ln>
                  <a:effectLst/>
                </p:spPr>
              </p:cxnSp>
              <p:cxnSp>
                <p:nvCxnSpPr>
                  <p:cNvPr id="196" name="Straight Connector 195">
                    <a:extLst>
                      <a:ext uri="{FF2B5EF4-FFF2-40B4-BE49-F238E27FC236}">
                        <a16:creationId xmlns:a16="http://schemas.microsoft.com/office/drawing/2014/main" id="{FAE6D604-2197-4D10-BAF0-90C6DA6B833B}"/>
                      </a:ext>
                    </a:extLst>
                  </p:cNvPr>
                  <p:cNvCxnSpPr/>
                  <p:nvPr/>
                </p:nvCxnSpPr>
                <p:spPr>
                  <a:xfrm>
                    <a:off x="4117783" y="4769781"/>
                    <a:ext cx="12900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1"/>
                    </a:solidFill>
                    <a:prstDash val="solid"/>
                    <a:headEnd type="none" w="lg" len="med"/>
                    <a:tailEnd type="none" w="lg" len="med"/>
                  </a:ln>
                  <a:effectLst/>
                </p:spPr>
              </p:cxnSp>
              <p:cxnSp>
                <p:nvCxnSpPr>
                  <p:cNvPr id="197" name="Straight Connector 196">
                    <a:extLst>
                      <a:ext uri="{FF2B5EF4-FFF2-40B4-BE49-F238E27FC236}">
                        <a16:creationId xmlns:a16="http://schemas.microsoft.com/office/drawing/2014/main" id="{B9F508B6-59C0-4F9A-99A0-985ED89F3646}"/>
                      </a:ext>
                    </a:extLst>
                  </p:cNvPr>
                  <p:cNvCxnSpPr/>
                  <p:nvPr/>
                </p:nvCxnSpPr>
                <p:spPr>
                  <a:xfrm>
                    <a:off x="4117783" y="4953845"/>
                    <a:ext cx="12900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1"/>
                    </a:solidFill>
                    <a:prstDash val="solid"/>
                    <a:headEnd type="none" w="lg" len="med"/>
                    <a:tailEnd type="none" w="lg" len="med"/>
                  </a:ln>
                  <a:effectLst/>
                </p:spPr>
              </p:cxnSp>
              <p:cxnSp>
                <p:nvCxnSpPr>
                  <p:cNvPr id="198" name="Straight Connector 197">
                    <a:extLst>
                      <a:ext uri="{FF2B5EF4-FFF2-40B4-BE49-F238E27FC236}">
                        <a16:creationId xmlns:a16="http://schemas.microsoft.com/office/drawing/2014/main" id="{8F98325B-1020-4688-A930-9D49811C0914}"/>
                      </a:ext>
                    </a:extLst>
                  </p:cNvPr>
                  <p:cNvCxnSpPr/>
                  <p:nvPr/>
                </p:nvCxnSpPr>
                <p:spPr>
                  <a:xfrm>
                    <a:off x="4117783" y="5045876"/>
                    <a:ext cx="12900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1"/>
                    </a:solidFill>
                    <a:prstDash val="solid"/>
                    <a:headEnd type="none" w="lg" len="med"/>
                    <a:tailEnd type="none" w="lg" len="med"/>
                  </a:ln>
                  <a:effectLst/>
                </p:spPr>
              </p:cxnSp>
            </p:grpSp>
          </p:grpSp>
        </p:grpSp>
        <p:sp>
          <p:nvSpPr>
            <p:cNvPr id="189" name="Freeform: Shape 520">
              <a:extLst>
                <a:ext uri="{FF2B5EF4-FFF2-40B4-BE49-F238E27FC236}">
                  <a16:creationId xmlns:a16="http://schemas.microsoft.com/office/drawing/2014/main" id="{DB42716A-4DDB-4CCB-84A9-BB3F2A820501}"/>
                </a:ext>
              </a:extLst>
            </p:cNvPr>
            <p:cNvSpPr/>
            <p:nvPr/>
          </p:nvSpPr>
          <p:spPr bwMode="auto">
            <a:xfrm>
              <a:off x="10124345" y="3293573"/>
              <a:ext cx="71612" cy="91319"/>
            </a:xfrm>
            <a:custGeom>
              <a:avLst/>
              <a:gdLst>
                <a:gd name="connsiteX0" fmla="*/ 699778 w 974972"/>
                <a:gd name="connsiteY0" fmla="*/ 0 h 1504393"/>
                <a:gd name="connsiteX1" fmla="*/ 502371 w 974972"/>
                <a:gd name="connsiteY1" fmla="*/ 571355 h 1504393"/>
                <a:gd name="connsiteX2" fmla="*/ 597565 w 974972"/>
                <a:gd name="connsiteY2" fmla="*/ 571355 h 1504393"/>
                <a:gd name="connsiteX3" fmla="*/ 629015 w 974972"/>
                <a:gd name="connsiteY3" fmla="*/ 571355 h 1504393"/>
                <a:gd name="connsiteX4" fmla="*/ 974972 w 974972"/>
                <a:gd name="connsiteY4" fmla="*/ 571355 h 1504393"/>
                <a:gd name="connsiteX5" fmla="*/ 275193 w 974972"/>
                <a:gd name="connsiteY5" fmla="*/ 1504393 h 1504393"/>
                <a:gd name="connsiteX6" fmla="*/ 472601 w 974972"/>
                <a:gd name="connsiteY6" fmla="*/ 933038 h 1504393"/>
                <a:gd name="connsiteX7" fmla="*/ 377407 w 974972"/>
                <a:gd name="connsiteY7" fmla="*/ 933038 h 1504393"/>
                <a:gd name="connsiteX8" fmla="*/ 349889 w 974972"/>
                <a:gd name="connsiteY8" fmla="*/ 933038 h 1504393"/>
                <a:gd name="connsiteX9" fmla="*/ 0 w 974972"/>
                <a:gd name="connsiteY9" fmla="*/ 933038 h 1504393"/>
                <a:gd name="connsiteX10" fmla="*/ 699778 w 974972"/>
                <a:gd name="connsiteY10" fmla="*/ 0 h 1504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74972" h="1504393">
                  <a:moveTo>
                    <a:pt x="699778" y="0"/>
                  </a:moveTo>
                  <a:lnTo>
                    <a:pt x="502371" y="571355"/>
                  </a:lnTo>
                  <a:lnTo>
                    <a:pt x="597565" y="571355"/>
                  </a:lnTo>
                  <a:lnTo>
                    <a:pt x="629015" y="571355"/>
                  </a:lnTo>
                  <a:lnTo>
                    <a:pt x="974972" y="571355"/>
                  </a:lnTo>
                  <a:lnTo>
                    <a:pt x="275193" y="1504393"/>
                  </a:lnTo>
                  <a:lnTo>
                    <a:pt x="472601" y="933038"/>
                  </a:lnTo>
                  <a:lnTo>
                    <a:pt x="377407" y="933038"/>
                  </a:lnTo>
                  <a:lnTo>
                    <a:pt x="349889" y="933038"/>
                  </a:lnTo>
                  <a:lnTo>
                    <a:pt x="0" y="933038"/>
                  </a:lnTo>
                  <a:lnTo>
                    <a:pt x="699778" y="0"/>
                  </a:lnTo>
                  <a:close/>
                </a:path>
              </a:pathLst>
            </a:custGeom>
            <a:noFill/>
            <a:ln w="1270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0078D4"/>
                </a:solidFill>
                <a:latin typeface="Segoe UI"/>
                <a:cs typeface="Segoe UI" pitchFamily="34" charset="0"/>
              </a:endParaRPr>
            </a:p>
          </p:txBody>
        </p:sp>
      </p:grpSp>
      <p:sp>
        <p:nvSpPr>
          <p:cNvPr id="213" name="TextBox 212">
            <a:extLst>
              <a:ext uri="{FF2B5EF4-FFF2-40B4-BE49-F238E27FC236}">
                <a16:creationId xmlns:a16="http://schemas.microsoft.com/office/drawing/2014/main" id="{895B2A3A-1C0D-48C0-A490-7F363BC48674}"/>
              </a:ext>
            </a:extLst>
          </p:cNvPr>
          <p:cNvSpPr txBox="1"/>
          <p:nvPr/>
        </p:nvSpPr>
        <p:spPr>
          <a:xfrm>
            <a:off x="10938516" y="6010716"/>
            <a:ext cx="383435" cy="32316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82880" rtlCol="0" anchor="b" anchorCtr="0">
            <a:spAutoFit/>
          </a:bodyPr>
          <a:lstStyle>
            <a:defPPr>
              <a:defRPr lang="en-US"/>
            </a:defPPr>
            <a:lvl1pPr marR="0" lvl="0" indent="0" algn="ctr" defTabSz="895870" fontAlgn="auto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gradFill>
                  <a:gsLst>
                    <a:gs pos="8108">
                      <a:schemeClr val="bg1"/>
                    </a:gs>
                    <a:gs pos="23423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defTabSz="895848">
              <a:defRPr/>
            </a:pPr>
            <a:r>
              <a:rPr lang="en-US">
                <a:solidFill>
                  <a:prstClr val="black"/>
                </a:solidFill>
              </a:rPr>
              <a:t>FPGA</a:t>
            </a:r>
          </a:p>
        </p:txBody>
      </p:sp>
      <p:grpSp>
        <p:nvGrpSpPr>
          <p:cNvPr id="214" name="Group 213">
            <a:extLst>
              <a:ext uri="{FF2B5EF4-FFF2-40B4-BE49-F238E27FC236}">
                <a16:creationId xmlns:a16="http://schemas.microsoft.com/office/drawing/2014/main" id="{34F56827-1B06-46DD-8D74-AE66839D529C}"/>
              </a:ext>
            </a:extLst>
          </p:cNvPr>
          <p:cNvGrpSpPr/>
          <p:nvPr/>
        </p:nvGrpSpPr>
        <p:grpSpPr>
          <a:xfrm>
            <a:off x="10955586" y="2548593"/>
            <a:ext cx="349295" cy="297139"/>
            <a:chOff x="11238522" y="2214151"/>
            <a:chExt cx="394713" cy="335774"/>
          </a:xfrm>
        </p:grpSpPr>
        <p:grpSp>
          <p:nvGrpSpPr>
            <p:cNvPr id="215" name="Group 214">
              <a:extLst>
                <a:ext uri="{FF2B5EF4-FFF2-40B4-BE49-F238E27FC236}">
                  <a16:creationId xmlns:a16="http://schemas.microsoft.com/office/drawing/2014/main" id="{2B6A8F73-FE58-4613-8963-9F17CAAF49FE}"/>
                </a:ext>
              </a:extLst>
            </p:cNvPr>
            <p:cNvGrpSpPr/>
            <p:nvPr/>
          </p:nvGrpSpPr>
          <p:grpSpPr>
            <a:xfrm>
              <a:off x="11238522" y="2214151"/>
              <a:ext cx="394713" cy="335774"/>
              <a:chOff x="2107244" y="1575258"/>
              <a:chExt cx="310993" cy="264555"/>
            </a:xfrm>
          </p:grpSpPr>
          <p:grpSp>
            <p:nvGrpSpPr>
              <p:cNvPr id="218" name="Group 217">
                <a:extLst>
                  <a:ext uri="{FF2B5EF4-FFF2-40B4-BE49-F238E27FC236}">
                    <a16:creationId xmlns:a16="http://schemas.microsoft.com/office/drawing/2014/main" id="{CB346C75-4C25-47CF-8FA5-CA36C6E06A7C}"/>
                  </a:ext>
                </a:extLst>
              </p:cNvPr>
              <p:cNvGrpSpPr/>
              <p:nvPr/>
            </p:nvGrpSpPr>
            <p:grpSpPr>
              <a:xfrm>
                <a:off x="2107244" y="1575258"/>
                <a:ext cx="310993" cy="264555"/>
                <a:chOff x="2107244" y="1575258"/>
                <a:chExt cx="310993" cy="264555"/>
              </a:xfrm>
            </p:grpSpPr>
            <p:sp>
              <p:nvSpPr>
                <p:cNvPr id="223" name="Rectangle 9">
                  <a:extLst>
                    <a:ext uri="{FF2B5EF4-FFF2-40B4-BE49-F238E27FC236}">
                      <a16:creationId xmlns:a16="http://schemas.microsoft.com/office/drawing/2014/main" id="{306A5CE3-2025-4D08-B88C-7110D27D604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107244" y="1575258"/>
                  <a:ext cx="310993" cy="264555"/>
                </a:xfrm>
                <a:prstGeom prst="rect">
                  <a:avLst/>
                </a:prstGeom>
                <a:noFill/>
                <a:ln w="1270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719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  <p:sp>
              <p:nvSpPr>
                <p:cNvPr id="224" name="Line 10">
                  <a:extLst>
                    <a:ext uri="{FF2B5EF4-FFF2-40B4-BE49-F238E27FC236}">
                      <a16:creationId xmlns:a16="http://schemas.microsoft.com/office/drawing/2014/main" id="{D60FF9B9-5DBC-44D7-A11E-F36F64E1193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2107244" y="1647026"/>
                  <a:ext cx="310993" cy="0"/>
                </a:xfrm>
                <a:prstGeom prst="line">
                  <a:avLst/>
                </a:prstGeom>
                <a:noFill/>
                <a:ln w="1270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719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</p:grpSp>
          <p:grpSp>
            <p:nvGrpSpPr>
              <p:cNvPr id="219" name="Group 218">
                <a:extLst>
                  <a:ext uri="{FF2B5EF4-FFF2-40B4-BE49-F238E27FC236}">
                    <a16:creationId xmlns:a16="http://schemas.microsoft.com/office/drawing/2014/main" id="{BCEA713D-9ABF-4284-9314-8FF381DD7A53}"/>
                  </a:ext>
                </a:extLst>
              </p:cNvPr>
              <p:cNvGrpSpPr/>
              <p:nvPr/>
            </p:nvGrpSpPr>
            <p:grpSpPr>
              <a:xfrm>
                <a:off x="2287367" y="1599181"/>
                <a:ext cx="95690" cy="23923"/>
                <a:chOff x="2287367" y="1599181"/>
                <a:chExt cx="95690" cy="23923"/>
              </a:xfrm>
            </p:grpSpPr>
            <p:sp>
              <p:nvSpPr>
                <p:cNvPr id="220" name="Oval 11">
                  <a:extLst>
                    <a:ext uri="{FF2B5EF4-FFF2-40B4-BE49-F238E27FC236}">
                      <a16:creationId xmlns:a16="http://schemas.microsoft.com/office/drawing/2014/main" id="{BF59F3E1-C1B4-4566-A1F5-CF0919D34A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287367" y="1599181"/>
                  <a:ext cx="23923" cy="23923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accent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719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  <p:sp>
              <p:nvSpPr>
                <p:cNvPr id="221" name="Oval 12">
                  <a:extLst>
                    <a:ext uri="{FF2B5EF4-FFF2-40B4-BE49-F238E27FC236}">
                      <a16:creationId xmlns:a16="http://schemas.microsoft.com/office/drawing/2014/main" id="{2DCDB951-97C5-4F85-887D-914F538768F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322547" y="1599181"/>
                  <a:ext cx="23923" cy="23923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accent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719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  <p:sp>
              <p:nvSpPr>
                <p:cNvPr id="222" name="Oval 13">
                  <a:extLst>
                    <a:ext uri="{FF2B5EF4-FFF2-40B4-BE49-F238E27FC236}">
                      <a16:creationId xmlns:a16="http://schemas.microsoft.com/office/drawing/2014/main" id="{368B8EB7-C118-43B2-B50D-14CFA4F6F7A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359134" y="1599181"/>
                  <a:ext cx="23923" cy="23923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accent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719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</p:grpSp>
        </p:grpSp>
        <p:sp>
          <p:nvSpPr>
            <p:cNvPr id="216" name="Freeform 422">
              <a:extLst>
                <a:ext uri="{FF2B5EF4-FFF2-40B4-BE49-F238E27FC236}">
                  <a16:creationId xmlns:a16="http://schemas.microsoft.com/office/drawing/2014/main" id="{836A60DE-1D99-4648-9037-319B2080FAF1}"/>
                </a:ext>
              </a:extLst>
            </p:cNvPr>
            <p:cNvSpPr/>
            <p:nvPr/>
          </p:nvSpPr>
          <p:spPr bwMode="auto">
            <a:xfrm flipH="1">
              <a:off x="11292455" y="2354178"/>
              <a:ext cx="84926" cy="139515"/>
            </a:xfrm>
            <a:custGeom>
              <a:avLst/>
              <a:gdLst>
                <a:gd name="connsiteX0" fmla="*/ 250825 w 250825"/>
                <a:gd name="connsiteY0" fmla="*/ 0 h 269875"/>
                <a:gd name="connsiteX1" fmla="*/ 0 w 250825"/>
                <a:gd name="connsiteY1" fmla="*/ 142875 h 269875"/>
                <a:gd name="connsiteX2" fmla="*/ 250825 w 250825"/>
                <a:gd name="connsiteY2" fmla="*/ 269875 h 269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0825" h="269875">
                  <a:moveTo>
                    <a:pt x="250825" y="0"/>
                  </a:moveTo>
                  <a:lnTo>
                    <a:pt x="0" y="142875"/>
                  </a:lnTo>
                  <a:lnTo>
                    <a:pt x="250825" y="269875"/>
                  </a:lnTo>
                </a:path>
              </a:pathLst>
            </a:cu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>
                <a:solidFill>
                  <a:prstClr val="white"/>
                </a:solidFill>
                <a:latin typeface="Segoe UI"/>
              </a:endParaRPr>
            </a:p>
          </p:txBody>
        </p:sp>
        <p:cxnSp>
          <p:nvCxnSpPr>
            <p:cNvPr id="217" name="Straight Connector 216">
              <a:extLst>
                <a:ext uri="{FF2B5EF4-FFF2-40B4-BE49-F238E27FC236}">
                  <a16:creationId xmlns:a16="http://schemas.microsoft.com/office/drawing/2014/main" id="{B4BF54AA-E5F9-4AF2-8F4E-EABE87E9447A}"/>
                </a:ext>
              </a:extLst>
            </p:cNvPr>
            <p:cNvCxnSpPr>
              <a:cxnSpLocks/>
            </p:cNvCxnSpPr>
            <p:nvPr/>
          </p:nvCxnSpPr>
          <p:spPr>
            <a:xfrm>
              <a:off x="11392807" y="2493693"/>
              <a:ext cx="118979" cy="0"/>
            </a:xfrm>
            <a:prstGeom prst="line">
              <a:avLst/>
            </a:prstGeom>
            <a:ln w="12700">
              <a:solidFill>
                <a:schemeClr val="accent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5" name="Picture 224">
            <a:extLst>
              <a:ext uri="{FF2B5EF4-FFF2-40B4-BE49-F238E27FC236}">
                <a16:creationId xmlns:a16="http://schemas.microsoft.com/office/drawing/2014/main" id="{62BE9762-2772-429D-8347-40DF699656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40079" y="3544156"/>
            <a:ext cx="380308" cy="373064"/>
          </a:xfrm>
          <a:prstGeom prst="rect">
            <a:avLst/>
          </a:prstGeom>
        </p:spPr>
      </p:pic>
      <p:pic>
        <p:nvPicPr>
          <p:cNvPr id="227" name="Picture 226" descr="A picture containing vector graphics&#10;&#10;Description automatically generated">
            <a:extLst>
              <a:ext uri="{FF2B5EF4-FFF2-40B4-BE49-F238E27FC236}">
                <a16:creationId xmlns:a16="http://schemas.microsoft.com/office/drawing/2014/main" id="{002A8B90-25FB-4C2F-8AAE-55069ECFBC7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195" y="2548594"/>
            <a:ext cx="349296" cy="399412"/>
          </a:xfrm>
          <a:prstGeom prst="rect">
            <a:avLst/>
          </a:prstGeom>
        </p:spPr>
      </p:pic>
      <p:pic>
        <p:nvPicPr>
          <p:cNvPr id="228" name="Picture 227" descr="A close up of a sign&#10;&#10;Description automatically generated">
            <a:extLst>
              <a:ext uri="{FF2B5EF4-FFF2-40B4-BE49-F238E27FC236}">
                <a16:creationId xmlns:a16="http://schemas.microsoft.com/office/drawing/2014/main" id="{5E34D0CC-C74E-4677-9136-B8BA0E1A310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6814" y="3552632"/>
            <a:ext cx="298831" cy="323165"/>
          </a:xfrm>
          <a:prstGeom prst="rect">
            <a:avLst/>
          </a:prstGeom>
        </p:spPr>
      </p:pic>
      <p:pic>
        <p:nvPicPr>
          <p:cNvPr id="229" name="Picture 228">
            <a:extLst>
              <a:ext uri="{FF2B5EF4-FFF2-40B4-BE49-F238E27FC236}">
                <a16:creationId xmlns:a16="http://schemas.microsoft.com/office/drawing/2014/main" id="{0E0D8971-A2E0-4099-8D98-D276807A0B4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7025" y="3550488"/>
            <a:ext cx="292099" cy="343181"/>
          </a:xfrm>
          <a:prstGeom prst="rect">
            <a:avLst/>
          </a:prstGeom>
        </p:spPr>
      </p:pic>
      <p:pic>
        <p:nvPicPr>
          <p:cNvPr id="230" name="Picture 229" descr="A close up of a sign&#10;&#10;Description automatically generated">
            <a:extLst>
              <a:ext uri="{FF2B5EF4-FFF2-40B4-BE49-F238E27FC236}">
                <a16:creationId xmlns:a16="http://schemas.microsoft.com/office/drawing/2014/main" id="{2AF68E86-D1EB-4E15-955A-31CFC6E29DC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9061" y="2548594"/>
            <a:ext cx="328027" cy="327573"/>
          </a:xfrm>
          <a:prstGeom prst="rect">
            <a:avLst/>
          </a:prstGeom>
        </p:spPr>
      </p:pic>
      <p:pic>
        <p:nvPicPr>
          <p:cNvPr id="231" name="Picture 230">
            <a:extLst>
              <a:ext uri="{FF2B5EF4-FFF2-40B4-BE49-F238E27FC236}">
                <a16:creationId xmlns:a16="http://schemas.microsoft.com/office/drawing/2014/main" id="{3E51FCB6-7FF7-44C2-991F-FF2270D60CF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5109" y="3599456"/>
            <a:ext cx="553473" cy="294200"/>
          </a:xfrm>
          <a:prstGeom prst="rect">
            <a:avLst/>
          </a:prstGeom>
        </p:spPr>
      </p:pic>
      <p:grpSp>
        <p:nvGrpSpPr>
          <p:cNvPr id="232" name="Group 231">
            <a:extLst>
              <a:ext uri="{FF2B5EF4-FFF2-40B4-BE49-F238E27FC236}">
                <a16:creationId xmlns:a16="http://schemas.microsoft.com/office/drawing/2014/main" id="{B86A7C4F-7C87-4228-940F-9CE1CE8B1146}"/>
              </a:ext>
            </a:extLst>
          </p:cNvPr>
          <p:cNvGrpSpPr>
            <a:grpSpLocks noChangeAspect="1"/>
          </p:cNvGrpSpPr>
          <p:nvPr/>
        </p:nvGrpSpPr>
        <p:grpSpPr>
          <a:xfrm>
            <a:off x="8578511" y="2602698"/>
            <a:ext cx="375436" cy="291204"/>
            <a:chOff x="3486498" y="5451027"/>
            <a:chExt cx="1893396" cy="1468600"/>
          </a:xfrm>
          <a:noFill/>
        </p:grpSpPr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E167879B-00A5-4AAE-9AE4-2A8EFF63E50D}"/>
                </a:ext>
              </a:extLst>
            </p:cNvPr>
            <p:cNvSpPr/>
            <p:nvPr/>
          </p:nvSpPr>
          <p:spPr bwMode="auto">
            <a:xfrm>
              <a:off x="3486498" y="5451027"/>
              <a:ext cx="1068765" cy="1323278"/>
            </a:xfrm>
            <a:custGeom>
              <a:avLst/>
              <a:gdLst>
                <a:gd name="connsiteX0" fmla="*/ 1033494 w 1033494"/>
                <a:gd name="connsiteY0" fmla="*/ 0 h 1283793"/>
                <a:gd name="connsiteX1" fmla="*/ 468302 w 1033494"/>
                <a:gd name="connsiteY1" fmla="*/ 458209 h 1283793"/>
                <a:gd name="connsiteX2" fmla="*/ 0 w 1033494"/>
                <a:gd name="connsiteY2" fmla="*/ 1283793 h 1283793"/>
                <a:gd name="connsiteX3" fmla="*/ 446098 w 1033494"/>
                <a:gd name="connsiteY3" fmla="*/ 1283793 h 1283793"/>
                <a:gd name="connsiteX4" fmla="*/ 1033494 w 1033494"/>
                <a:gd name="connsiteY4" fmla="*/ 0 h 1283793"/>
                <a:gd name="connsiteX0" fmla="*/ 1047475 w 1047475"/>
                <a:gd name="connsiteY0" fmla="*/ 0 h 1283793"/>
                <a:gd name="connsiteX1" fmla="*/ 482283 w 1047475"/>
                <a:gd name="connsiteY1" fmla="*/ 458209 h 1283793"/>
                <a:gd name="connsiteX2" fmla="*/ 0 w 1047475"/>
                <a:gd name="connsiteY2" fmla="*/ 1281817 h 1283793"/>
                <a:gd name="connsiteX3" fmla="*/ 460079 w 1047475"/>
                <a:gd name="connsiteY3" fmla="*/ 1283793 h 1283793"/>
                <a:gd name="connsiteX4" fmla="*/ 1047475 w 1047475"/>
                <a:gd name="connsiteY4" fmla="*/ 0 h 1283793"/>
                <a:gd name="connsiteX0" fmla="*/ 1049473 w 1049473"/>
                <a:gd name="connsiteY0" fmla="*/ 0 h 1297628"/>
                <a:gd name="connsiteX1" fmla="*/ 482283 w 1049473"/>
                <a:gd name="connsiteY1" fmla="*/ 472044 h 1297628"/>
                <a:gd name="connsiteX2" fmla="*/ 0 w 1049473"/>
                <a:gd name="connsiteY2" fmla="*/ 1295652 h 1297628"/>
                <a:gd name="connsiteX3" fmla="*/ 460079 w 1049473"/>
                <a:gd name="connsiteY3" fmla="*/ 1297628 h 1297628"/>
                <a:gd name="connsiteX4" fmla="*/ 1049473 w 1049473"/>
                <a:gd name="connsiteY4" fmla="*/ 0 h 1297628"/>
                <a:gd name="connsiteX0" fmla="*/ 1057462 w 1057462"/>
                <a:gd name="connsiteY0" fmla="*/ 0 h 1295651"/>
                <a:gd name="connsiteX1" fmla="*/ 482283 w 1057462"/>
                <a:gd name="connsiteY1" fmla="*/ 470067 h 1295651"/>
                <a:gd name="connsiteX2" fmla="*/ 0 w 1057462"/>
                <a:gd name="connsiteY2" fmla="*/ 1293675 h 1295651"/>
                <a:gd name="connsiteX3" fmla="*/ 460079 w 1057462"/>
                <a:gd name="connsiteY3" fmla="*/ 1295651 h 1295651"/>
                <a:gd name="connsiteX4" fmla="*/ 1057462 w 1057462"/>
                <a:gd name="connsiteY4" fmla="*/ 0 h 129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7462" h="1295651">
                  <a:moveTo>
                    <a:pt x="1057462" y="0"/>
                  </a:moveTo>
                  <a:lnTo>
                    <a:pt x="482283" y="470067"/>
                  </a:lnTo>
                  <a:lnTo>
                    <a:pt x="0" y="1293675"/>
                  </a:lnTo>
                  <a:lnTo>
                    <a:pt x="460079" y="1295651"/>
                  </a:lnTo>
                  <a:lnTo>
                    <a:pt x="1057462" y="0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495" tIns="149196" rIns="186495" bIns="14919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082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48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F95F70D0-B9FD-412D-A00D-FCBF5A6A618C}"/>
                </a:ext>
              </a:extLst>
            </p:cNvPr>
            <p:cNvSpPr/>
            <p:nvPr/>
          </p:nvSpPr>
          <p:spPr bwMode="auto">
            <a:xfrm>
              <a:off x="3918466" y="5540962"/>
              <a:ext cx="1461428" cy="1378665"/>
            </a:xfrm>
            <a:custGeom>
              <a:avLst/>
              <a:gdLst>
                <a:gd name="connsiteX0" fmla="*/ 672175 w 1461426"/>
                <a:gd name="connsiteY0" fmla="*/ 0 h 1358480"/>
                <a:gd name="connsiteX1" fmla="*/ 440043 w 1461426"/>
                <a:gd name="connsiteY1" fmla="*/ 658045 h 1358480"/>
                <a:gd name="connsiteX2" fmla="*/ 876048 w 1461426"/>
                <a:gd name="connsiteY2" fmla="*/ 1186904 h 1358480"/>
                <a:gd name="connsiteX3" fmla="*/ 0 w 1461426"/>
                <a:gd name="connsiteY3" fmla="*/ 1336276 h 1358480"/>
                <a:gd name="connsiteX4" fmla="*/ 1439222 w 1461426"/>
                <a:gd name="connsiteY4" fmla="*/ 1358480 h 1358480"/>
                <a:gd name="connsiteX5" fmla="*/ 1461426 w 1461426"/>
                <a:gd name="connsiteY5" fmla="*/ 1344350 h 1358480"/>
                <a:gd name="connsiteX6" fmla="*/ 672175 w 1461426"/>
                <a:gd name="connsiteY6" fmla="*/ 0 h 1358480"/>
                <a:gd name="connsiteX0" fmla="*/ 672175 w 1461426"/>
                <a:gd name="connsiteY0" fmla="*/ 0 h 1358480"/>
                <a:gd name="connsiteX1" fmla="*/ 440043 w 1461426"/>
                <a:gd name="connsiteY1" fmla="*/ 658045 h 1358480"/>
                <a:gd name="connsiteX2" fmla="*/ 876048 w 1461426"/>
                <a:gd name="connsiteY2" fmla="*/ 1186904 h 1358480"/>
                <a:gd name="connsiteX3" fmla="*/ 0 w 1461426"/>
                <a:gd name="connsiteY3" fmla="*/ 1348387 h 1358480"/>
                <a:gd name="connsiteX4" fmla="*/ 1439222 w 1461426"/>
                <a:gd name="connsiteY4" fmla="*/ 1358480 h 1358480"/>
                <a:gd name="connsiteX5" fmla="*/ 1461426 w 1461426"/>
                <a:gd name="connsiteY5" fmla="*/ 1344350 h 1358480"/>
                <a:gd name="connsiteX6" fmla="*/ 672175 w 1461426"/>
                <a:gd name="connsiteY6" fmla="*/ 0 h 1358480"/>
                <a:gd name="connsiteX0" fmla="*/ 682268 w 1461426"/>
                <a:gd name="connsiteY0" fmla="*/ 0 h 1378666"/>
                <a:gd name="connsiteX1" fmla="*/ 440043 w 1461426"/>
                <a:gd name="connsiteY1" fmla="*/ 678231 h 1378666"/>
                <a:gd name="connsiteX2" fmla="*/ 876048 w 1461426"/>
                <a:gd name="connsiteY2" fmla="*/ 1207090 h 1378666"/>
                <a:gd name="connsiteX3" fmla="*/ 0 w 1461426"/>
                <a:gd name="connsiteY3" fmla="*/ 1368573 h 1378666"/>
                <a:gd name="connsiteX4" fmla="*/ 1439222 w 1461426"/>
                <a:gd name="connsiteY4" fmla="*/ 1378666 h 1378666"/>
                <a:gd name="connsiteX5" fmla="*/ 1461426 w 1461426"/>
                <a:gd name="connsiteY5" fmla="*/ 1364536 h 1378666"/>
                <a:gd name="connsiteX6" fmla="*/ 682268 w 1461426"/>
                <a:gd name="connsiteY6" fmla="*/ 0 h 1378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1426" h="1378666">
                  <a:moveTo>
                    <a:pt x="682268" y="0"/>
                  </a:moveTo>
                  <a:lnTo>
                    <a:pt x="440043" y="678231"/>
                  </a:lnTo>
                  <a:lnTo>
                    <a:pt x="876048" y="1207090"/>
                  </a:lnTo>
                  <a:lnTo>
                    <a:pt x="0" y="1368573"/>
                  </a:lnTo>
                  <a:lnTo>
                    <a:pt x="1439222" y="1378666"/>
                  </a:lnTo>
                  <a:lnTo>
                    <a:pt x="1461426" y="1364536"/>
                  </a:lnTo>
                  <a:lnTo>
                    <a:pt x="682268" y="0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495" tIns="149196" rIns="186495" bIns="14919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082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48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3937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1DB05D-7F50-4989-9D24-818179A0D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ferenc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E7A355-DCA1-4446-AF58-3A2C90B8D0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5093891"/>
          </a:xfrm>
        </p:spPr>
        <p:txBody>
          <a:bodyPr/>
          <a:lstStyle/>
          <a:p>
            <a:pPr marL="0" indent="0">
              <a:buNone/>
            </a:pPr>
            <a:r>
              <a:rPr lang="en-US" dirty="0" err="1"/>
              <a:t>MLOps</a:t>
            </a:r>
            <a:r>
              <a:rPr lang="en-US" dirty="0"/>
              <a:t> makes it possible to do production-grade ML</a:t>
            </a:r>
          </a:p>
          <a:p>
            <a:pPr marL="0" indent="0">
              <a:buNone/>
            </a:pPr>
            <a:r>
              <a:rPr lang="en-US" dirty="0">
                <a:hlinkClick r:id="rId3"/>
              </a:rPr>
              <a:t>https://aka.ms/mlops</a:t>
            </a:r>
            <a:r>
              <a:rPr lang="en-US" dirty="0"/>
              <a:t> 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dirty="0" err="1"/>
              <a:t>MLOps</a:t>
            </a:r>
            <a:r>
              <a:rPr lang="en-US" dirty="0"/>
              <a:t> Reference Architecture</a:t>
            </a:r>
          </a:p>
          <a:p>
            <a:pPr marL="0" indent="0">
              <a:buNone/>
            </a:pPr>
            <a:r>
              <a:rPr lang="en-US" u="sng" dirty="0">
                <a:hlinkClick r:id="rId4"/>
              </a:rPr>
              <a:t>https://github.com/Microsoft/MLOpsPython</a:t>
            </a:r>
            <a:endParaRPr lang="en-US" u="sng" dirty="0"/>
          </a:p>
          <a:p>
            <a:pPr marL="0" indent="0">
              <a:buNone/>
            </a:pPr>
            <a:endParaRPr lang="en-US" sz="1800" u="sng" dirty="0"/>
          </a:p>
          <a:p>
            <a:pPr marL="0" indent="0">
              <a:buNone/>
            </a:pPr>
            <a:r>
              <a:rPr lang="en-US" dirty="0"/>
              <a:t>AI Reference Architecture</a:t>
            </a:r>
          </a:p>
          <a:p>
            <a:pPr marL="0" indent="0">
              <a:buNone/>
            </a:pPr>
            <a:r>
              <a:rPr lang="en-US" dirty="0">
                <a:hlinkClick r:id="rId5"/>
              </a:rPr>
              <a:t>https://github.com/Microsoft/AIReferenceArchitectures</a:t>
            </a:r>
            <a:endParaRPr lang="en-US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dirty="0" err="1"/>
              <a:t>Github</a:t>
            </a:r>
            <a:r>
              <a:rPr lang="en-US" dirty="0"/>
              <a:t> Sample</a:t>
            </a:r>
          </a:p>
          <a:p>
            <a:pPr marL="0" indent="0">
              <a:buNone/>
            </a:pPr>
            <a:r>
              <a:rPr lang="en-US" dirty="0">
                <a:hlinkClick r:id="rId6"/>
              </a:rPr>
              <a:t>https://github.com/chronicle17/DSDevOps</a:t>
            </a:r>
            <a:r>
              <a:rPr lang="en-US" dirty="0"/>
              <a:t> 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604534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29ED67-7F3C-424C-9CCE-1E8BF74FF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b="1" kern="1200" cap="none" spc="-50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rPr>
              <a:t>What is DevOps?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16ADEB-D096-4315-A276-5389F883C0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/>
              <a:t>Bring together people, processes, and products to automate software delivery &amp; provide continuous value to our users.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1EEDFAE4-185B-E041-A1D1-AD1E4ED50F19}"/>
              </a:ext>
            </a:extLst>
          </p:cNvPr>
          <p:cNvSpPr txBox="1">
            <a:spLocks/>
          </p:cNvSpPr>
          <p:nvPr/>
        </p:nvSpPr>
        <p:spPr>
          <a:xfrm>
            <a:off x="482369" y="3829984"/>
            <a:ext cx="3630006" cy="260175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b="1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US" sz="1600">
                <a:solidFill>
                  <a:srgbClr val="0078D7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tinuous Integration (CI)</a:t>
            </a:r>
          </a:p>
          <a:p>
            <a:pPr algn="ctr" defTabSz="914192">
              <a:defRPr/>
            </a:pPr>
            <a:endParaRPr lang="en-US" sz="1568">
              <a:solidFill>
                <a:srgbClr val="0078D7"/>
              </a:solidFill>
              <a:latin typeface="Segoe UI"/>
            </a:endParaRPr>
          </a:p>
          <a:p>
            <a:pPr marL="280067" indent="-280067">
              <a:buFont typeface="Arial" panose="020B0604020202020204" pitchFamily="34" charset="0"/>
              <a:buChar char="•"/>
              <a:defRPr/>
            </a:pPr>
            <a:r>
              <a:rPr lang="en-US" sz="1570" b="0">
                <a:solidFill>
                  <a:schemeClr val="tx1"/>
                </a:solidFill>
                <a:latin typeface="Calibri Light (Headings)"/>
              </a:rPr>
              <a:t>Blend together the work of individual engineers in a repository.</a:t>
            </a:r>
          </a:p>
          <a:p>
            <a:pPr marL="280067" indent="-280067">
              <a:buFont typeface="Arial" panose="020B0604020202020204" pitchFamily="34" charset="0"/>
              <a:buChar char="•"/>
              <a:defRPr/>
            </a:pPr>
            <a:r>
              <a:rPr lang="en-US" sz="1570" b="0">
                <a:solidFill>
                  <a:srgbClr val="000000"/>
                </a:solidFill>
                <a:latin typeface="Calibri Light (Headings)"/>
              </a:rPr>
              <a:t>Each time you commit code, it’s automatically built and tested, and bugs are detected faster.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B83A4F54-1B25-EF4A-B871-170292D20165}"/>
              </a:ext>
            </a:extLst>
          </p:cNvPr>
          <p:cNvSpPr txBox="1">
            <a:spLocks/>
          </p:cNvSpPr>
          <p:nvPr/>
        </p:nvSpPr>
        <p:spPr>
          <a:xfrm>
            <a:off x="4336757" y="3829984"/>
            <a:ext cx="3622537" cy="260175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b="1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US" sz="1600" b="0">
                <a:solidFill>
                  <a:srgbClr val="0078D7"/>
                </a:solidFill>
                <a:latin typeface="+mj-lt"/>
              </a:rPr>
              <a:t>Continuous Deployment (CD)</a:t>
            </a:r>
          </a:p>
          <a:p>
            <a:pPr algn="ctr" defTabSz="914192">
              <a:defRPr/>
            </a:pPr>
            <a:endParaRPr lang="en-US" sz="1371">
              <a:solidFill>
                <a:srgbClr val="0078D7"/>
              </a:solidFill>
              <a:latin typeface="Segoe UI"/>
            </a:endParaRPr>
          </a:p>
          <a:p>
            <a:pPr marL="280067" indent="-280067">
              <a:buFont typeface="Arial" panose="020B0604020202020204" pitchFamily="34" charset="0"/>
              <a:buChar char="•"/>
              <a:defRPr/>
            </a:pPr>
            <a:r>
              <a:rPr lang="en-US" sz="1568" b="0">
                <a:solidFill>
                  <a:srgbClr val="000000"/>
                </a:solidFill>
                <a:latin typeface="Calibri Light (Headings)"/>
              </a:rPr>
              <a:t>Automate the entire process from code commit to production (if your CI/CD tests are successful.)</a:t>
            </a:r>
          </a:p>
          <a:p>
            <a:pPr marL="280067" indent="-280067">
              <a:buFont typeface="Arial" panose="020B0604020202020204" pitchFamily="34" charset="0"/>
              <a:buChar char="•"/>
              <a:defRPr/>
            </a:pPr>
            <a:endParaRPr lang="en-US" sz="1568" b="0">
              <a:solidFill>
                <a:srgbClr val="000000"/>
              </a:solidFill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16C2900-FBC6-0E41-9223-C26755FC5C77}"/>
              </a:ext>
            </a:extLst>
          </p:cNvPr>
          <p:cNvSpPr txBox="1">
            <a:spLocks/>
          </p:cNvSpPr>
          <p:nvPr/>
        </p:nvSpPr>
        <p:spPr>
          <a:xfrm>
            <a:off x="8179604" y="3829984"/>
            <a:ext cx="3630006" cy="19329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b="1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US" sz="1600" b="0">
                <a:solidFill>
                  <a:srgbClr val="0078D7"/>
                </a:solidFill>
                <a:latin typeface="+mj-lt"/>
              </a:rPr>
              <a:t>Continuous Learning &amp; Monitoring</a:t>
            </a:r>
          </a:p>
          <a:p>
            <a:pPr algn="ctr" defTabSz="914192">
              <a:defRPr/>
            </a:pPr>
            <a:endParaRPr lang="en-US" sz="1371">
              <a:solidFill>
                <a:srgbClr val="0078D7"/>
              </a:solidFill>
              <a:latin typeface="Segoe UI"/>
            </a:endParaRPr>
          </a:p>
          <a:p>
            <a:pPr marL="280067" indent="-280067">
              <a:buFont typeface="Arial" panose="020B0604020202020204" pitchFamily="34" charset="0"/>
              <a:buChar char="•"/>
              <a:defRPr/>
            </a:pPr>
            <a:r>
              <a:rPr lang="en-US" sz="1568" b="0" spc="-29">
                <a:solidFill>
                  <a:srgbClr val="000000"/>
                </a:solidFill>
                <a:latin typeface="Calibri Light (Headings)"/>
              </a:rPr>
              <a:t>Safely deliver features</a:t>
            </a:r>
            <a:r>
              <a:rPr lang="en-US" sz="1568" b="0">
                <a:solidFill>
                  <a:srgbClr val="000000"/>
                </a:solidFill>
                <a:latin typeface="Calibri Light (Headings)"/>
              </a:rPr>
              <a:t> to your customers as soon as they’re ready.</a:t>
            </a:r>
          </a:p>
          <a:p>
            <a:pPr marL="280067" indent="-280067">
              <a:buFont typeface="Arial" panose="020B0604020202020204" pitchFamily="34" charset="0"/>
              <a:buChar char="•"/>
              <a:defRPr/>
            </a:pPr>
            <a:r>
              <a:rPr lang="en-US" sz="1568" b="0">
                <a:solidFill>
                  <a:srgbClr val="000000"/>
                </a:solidFill>
                <a:latin typeface="Calibri Light (Headings)"/>
              </a:rPr>
              <a:t>Monitor your features in production and know when they aren’t behaving as expected.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5F0FF9D-451C-BE4C-8FB6-FEF0626566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924592" y="3077162"/>
            <a:ext cx="745561" cy="606090"/>
            <a:chOff x="1228673" y="2642918"/>
            <a:chExt cx="985201" cy="800902"/>
          </a:xfrm>
          <a:solidFill>
            <a:schemeClr val="bg1"/>
          </a:solidFill>
        </p:grpSpPr>
        <p:sp>
          <p:nvSpPr>
            <p:cNvPr id="8" name="browser_3">
              <a:extLst>
                <a:ext uri="{FF2B5EF4-FFF2-40B4-BE49-F238E27FC236}">
                  <a16:creationId xmlns:a16="http://schemas.microsoft.com/office/drawing/2014/main" id="{8F93AB41-2F82-5144-A292-36BBDE7E3A8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228673" y="2642918"/>
              <a:ext cx="770794" cy="733164"/>
            </a:xfrm>
            <a:custGeom>
              <a:avLst/>
              <a:gdLst>
                <a:gd name="T0" fmla="*/ 130 w 335"/>
                <a:gd name="T1" fmla="*/ 33 h 318"/>
                <a:gd name="T2" fmla="*/ 335 w 335"/>
                <a:gd name="T3" fmla="*/ 33 h 318"/>
                <a:gd name="T4" fmla="*/ 335 w 335"/>
                <a:gd name="T5" fmla="*/ 318 h 318"/>
                <a:gd name="T6" fmla="*/ 0 w 335"/>
                <a:gd name="T7" fmla="*/ 318 h 318"/>
                <a:gd name="T8" fmla="*/ 0 w 335"/>
                <a:gd name="T9" fmla="*/ 33 h 318"/>
                <a:gd name="T10" fmla="*/ 0 w 335"/>
                <a:gd name="T11" fmla="*/ 33 h 318"/>
                <a:gd name="T12" fmla="*/ 71 w 335"/>
                <a:gd name="T13" fmla="*/ 33 h 318"/>
                <a:gd name="T14" fmla="*/ 130 w 335"/>
                <a:gd name="T15" fmla="*/ 97 h 318"/>
                <a:gd name="T16" fmla="*/ 335 w 335"/>
                <a:gd name="T17" fmla="*/ 97 h 318"/>
                <a:gd name="T18" fmla="*/ 0 w 335"/>
                <a:gd name="T19" fmla="*/ 97 h 318"/>
                <a:gd name="T20" fmla="*/ 67 w 335"/>
                <a:gd name="T21" fmla="*/ 97 h 318"/>
                <a:gd name="T22" fmla="*/ 293 w 335"/>
                <a:gd name="T23" fmla="*/ 69 h 318"/>
                <a:gd name="T24" fmla="*/ 298 w 335"/>
                <a:gd name="T25" fmla="*/ 64 h 318"/>
                <a:gd name="T26" fmla="*/ 293 w 335"/>
                <a:gd name="T27" fmla="*/ 60 h 318"/>
                <a:gd name="T28" fmla="*/ 289 w 335"/>
                <a:gd name="T29" fmla="*/ 64 h 318"/>
                <a:gd name="T30" fmla="*/ 293 w 335"/>
                <a:gd name="T31" fmla="*/ 69 h 318"/>
                <a:gd name="T32" fmla="*/ 240 w 335"/>
                <a:gd name="T33" fmla="*/ 69 h 318"/>
                <a:gd name="T34" fmla="*/ 245 w 335"/>
                <a:gd name="T35" fmla="*/ 64 h 318"/>
                <a:gd name="T36" fmla="*/ 240 w 335"/>
                <a:gd name="T37" fmla="*/ 60 h 318"/>
                <a:gd name="T38" fmla="*/ 235 w 335"/>
                <a:gd name="T39" fmla="*/ 64 h 318"/>
                <a:gd name="T40" fmla="*/ 240 w 335"/>
                <a:gd name="T41" fmla="*/ 69 h 318"/>
                <a:gd name="T42" fmla="*/ 187 w 335"/>
                <a:gd name="T43" fmla="*/ 69 h 318"/>
                <a:gd name="T44" fmla="*/ 192 w 335"/>
                <a:gd name="T45" fmla="*/ 64 h 318"/>
                <a:gd name="T46" fmla="*/ 187 w 335"/>
                <a:gd name="T47" fmla="*/ 60 h 318"/>
                <a:gd name="T48" fmla="*/ 182 w 335"/>
                <a:gd name="T49" fmla="*/ 64 h 318"/>
                <a:gd name="T50" fmla="*/ 187 w 335"/>
                <a:gd name="T51" fmla="*/ 69 h 318"/>
                <a:gd name="T52" fmla="*/ 49 w 335"/>
                <a:gd name="T53" fmla="*/ 190 h 318"/>
                <a:gd name="T54" fmla="*/ 100 w 335"/>
                <a:gd name="T55" fmla="*/ 240 h 318"/>
                <a:gd name="T56" fmla="*/ 151 w 335"/>
                <a:gd name="T57" fmla="*/ 190 h 318"/>
                <a:gd name="T58" fmla="*/ 100 w 335"/>
                <a:gd name="T59" fmla="*/ 0 h 318"/>
                <a:gd name="T60" fmla="*/ 100 w 335"/>
                <a:gd name="T61" fmla="*/ 24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35" h="318">
                  <a:moveTo>
                    <a:pt x="130" y="33"/>
                  </a:moveTo>
                  <a:cubicBezTo>
                    <a:pt x="335" y="33"/>
                    <a:pt x="335" y="33"/>
                    <a:pt x="335" y="33"/>
                  </a:cubicBezTo>
                  <a:cubicBezTo>
                    <a:pt x="335" y="318"/>
                    <a:pt x="335" y="318"/>
                    <a:pt x="335" y="318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71" y="33"/>
                    <a:pt x="71" y="33"/>
                    <a:pt x="71" y="33"/>
                  </a:cubicBezTo>
                  <a:moveTo>
                    <a:pt x="130" y="97"/>
                  </a:moveTo>
                  <a:cubicBezTo>
                    <a:pt x="335" y="97"/>
                    <a:pt x="335" y="97"/>
                    <a:pt x="335" y="97"/>
                  </a:cubicBezTo>
                  <a:moveTo>
                    <a:pt x="0" y="97"/>
                  </a:moveTo>
                  <a:cubicBezTo>
                    <a:pt x="67" y="97"/>
                    <a:pt x="67" y="97"/>
                    <a:pt x="67" y="97"/>
                  </a:cubicBezTo>
                  <a:moveTo>
                    <a:pt x="293" y="69"/>
                  </a:moveTo>
                  <a:cubicBezTo>
                    <a:pt x="296" y="69"/>
                    <a:pt x="298" y="67"/>
                    <a:pt x="298" y="64"/>
                  </a:cubicBezTo>
                  <a:cubicBezTo>
                    <a:pt x="298" y="62"/>
                    <a:pt x="296" y="60"/>
                    <a:pt x="293" y="60"/>
                  </a:cubicBezTo>
                  <a:cubicBezTo>
                    <a:pt x="291" y="60"/>
                    <a:pt x="289" y="62"/>
                    <a:pt x="289" y="64"/>
                  </a:cubicBezTo>
                  <a:cubicBezTo>
                    <a:pt x="289" y="67"/>
                    <a:pt x="291" y="69"/>
                    <a:pt x="293" y="69"/>
                  </a:cubicBezTo>
                  <a:close/>
                  <a:moveTo>
                    <a:pt x="240" y="69"/>
                  </a:moveTo>
                  <a:cubicBezTo>
                    <a:pt x="243" y="69"/>
                    <a:pt x="245" y="67"/>
                    <a:pt x="245" y="64"/>
                  </a:cubicBezTo>
                  <a:cubicBezTo>
                    <a:pt x="245" y="62"/>
                    <a:pt x="243" y="60"/>
                    <a:pt x="240" y="60"/>
                  </a:cubicBezTo>
                  <a:cubicBezTo>
                    <a:pt x="238" y="60"/>
                    <a:pt x="235" y="62"/>
                    <a:pt x="235" y="64"/>
                  </a:cubicBezTo>
                  <a:cubicBezTo>
                    <a:pt x="235" y="67"/>
                    <a:pt x="238" y="69"/>
                    <a:pt x="240" y="69"/>
                  </a:cubicBezTo>
                  <a:close/>
                  <a:moveTo>
                    <a:pt x="187" y="69"/>
                  </a:moveTo>
                  <a:cubicBezTo>
                    <a:pt x="189" y="69"/>
                    <a:pt x="192" y="67"/>
                    <a:pt x="192" y="64"/>
                  </a:cubicBezTo>
                  <a:cubicBezTo>
                    <a:pt x="192" y="62"/>
                    <a:pt x="189" y="60"/>
                    <a:pt x="187" y="60"/>
                  </a:cubicBezTo>
                  <a:cubicBezTo>
                    <a:pt x="184" y="60"/>
                    <a:pt x="182" y="62"/>
                    <a:pt x="182" y="64"/>
                  </a:cubicBezTo>
                  <a:cubicBezTo>
                    <a:pt x="182" y="67"/>
                    <a:pt x="184" y="69"/>
                    <a:pt x="187" y="69"/>
                  </a:cubicBezTo>
                  <a:close/>
                  <a:moveTo>
                    <a:pt x="49" y="190"/>
                  </a:moveTo>
                  <a:cubicBezTo>
                    <a:pt x="100" y="240"/>
                    <a:pt x="100" y="240"/>
                    <a:pt x="100" y="240"/>
                  </a:cubicBezTo>
                  <a:cubicBezTo>
                    <a:pt x="151" y="190"/>
                    <a:pt x="151" y="190"/>
                    <a:pt x="151" y="190"/>
                  </a:cubicBezTo>
                  <a:moveTo>
                    <a:pt x="100" y="0"/>
                  </a:moveTo>
                  <a:cubicBezTo>
                    <a:pt x="100" y="240"/>
                    <a:pt x="100" y="240"/>
                    <a:pt x="100" y="240"/>
                  </a:cubicBezTo>
                </a:path>
              </a:pathLst>
            </a:custGeom>
            <a:grp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9" name="History_E81C">
              <a:extLst>
                <a:ext uri="{FF2B5EF4-FFF2-40B4-BE49-F238E27FC236}">
                  <a16:creationId xmlns:a16="http://schemas.microsoft.com/office/drawing/2014/main" id="{99894605-A1C8-0242-B578-857676221ED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820682" y="3050532"/>
              <a:ext cx="393192" cy="393288"/>
            </a:xfrm>
            <a:custGeom>
              <a:avLst/>
              <a:gdLst>
                <a:gd name="T0" fmla="*/ 2500 w 3750"/>
                <a:gd name="T1" fmla="*/ 2750 h 3750"/>
                <a:gd name="T2" fmla="*/ 1750 w 3750"/>
                <a:gd name="T3" fmla="*/ 2000 h 3750"/>
                <a:gd name="T4" fmla="*/ 1750 w 3750"/>
                <a:gd name="T5" fmla="*/ 875 h 3750"/>
                <a:gd name="T6" fmla="*/ 0 w 3750"/>
                <a:gd name="T7" fmla="*/ 375 h 3750"/>
                <a:gd name="T8" fmla="*/ 0 w 3750"/>
                <a:gd name="T9" fmla="*/ 1250 h 3750"/>
                <a:gd name="T10" fmla="*/ 875 w 3750"/>
                <a:gd name="T11" fmla="*/ 1250 h 3750"/>
                <a:gd name="T12" fmla="*/ 69 w 3750"/>
                <a:gd name="T13" fmla="*/ 2375 h 3750"/>
                <a:gd name="T14" fmla="*/ 1875 w 3750"/>
                <a:gd name="T15" fmla="*/ 3750 h 3750"/>
                <a:gd name="T16" fmla="*/ 3750 w 3750"/>
                <a:gd name="T17" fmla="*/ 1875 h 3750"/>
                <a:gd name="T18" fmla="*/ 1875 w 3750"/>
                <a:gd name="T19" fmla="*/ 0 h 3750"/>
                <a:gd name="T20" fmla="*/ 109 w 3750"/>
                <a:gd name="T21" fmla="*/ 1250 h 3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50" h="3750">
                  <a:moveTo>
                    <a:pt x="2500" y="2750"/>
                  </a:moveTo>
                  <a:cubicBezTo>
                    <a:pt x="1750" y="2000"/>
                    <a:pt x="1750" y="2000"/>
                    <a:pt x="1750" y="2000"/>
                  </a:cubicBezTo>
                  <a:cubicBezTo>
                    <a:pt x="1750" y="875"/>
                    <a:pt x="1750" y="875"/>
                    <a:pt x="1750" y="875"/>
                  </a:cubicBezTo>
                  <a:moveTo>
                    <a:pt x="0" y="375"/>
                  </a:moveTo>
                  <a:cubicBezTo>
                    <a:pt x="0" y="1250"/>
                    <a:pt x="0" y="1250"/>
                    <a:pt x="0" y="1250"/>
                  </a:cubicBezTo>
                  <a:cubicBezTo>
                    <a:pt x="875" y="1250"/>
                    <a:pt x="875" y="1250"/>
                    <a:pt x="875" y="1250"/>
                  </a:cubicBezTo>
                  <a:moveTo>
                    <a:pt x="69" y="2375"/>
                  </a:moveTo>
                  <a:cubicBezTo>
                    <a:pt x="289" y="3167"/>
                    <a:pt x="1013" y="3750"/>
                    <a:pt x="1875" y="3750"/>
                  </a:cubicBezTo>
                  <a:cubicBezTo>
                    <a:pt x="2911" y="3750"/>
                    <a:pt x="3750" y="2911"/>
                    <a:pt x="3750" y="1875"/>
                  </a:cubicBezTo>
                  <a:cubicBezTo>
                    <a:pt x="3750" y="839"/>
                    <a:pt x="2911" y="0"/>
                    <a:pt x="1875" y="0"/>
                  </a:cubicBezTo>
                  <a:cubicBezTo>
                    <a:pt x="1059" y="0"/>
                    <a:pt x="367" y="522"/>
                    <a:pt x="109" y="1250"/>
                  </a:cubicBezTo>
                </a:path>
              </a:pathLst>
            </a:custGeom>
            <a:grp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sp>
        <p:nvSpPr>
          <p:cNvPr id="10" name="binary">
            <a:extLst>
              <a:ext uri="{FF2B5EF4-FFF2-40B4-BE49-F238E27FC236}">
                <a16:creationId xmlns:a16="http://schemas.microsoft.com/office/drawing/2014/main" id="{D734DF3D-5C00-D840-A143-D214B55C9A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875849" y="3098958"/>
            <a:ext cx="600476" cy="518510"/>
          </a:xfrm>
          <a:custGeom>
            <a:avLst/>
            <a:gdLst>
              <a:gd name="T0" fmla="*/ 0 w 245"/>
              <a:gd name="T1" fmla="*/ 48 h 212"/>
              <a:gd name="T2" fmla="*/ 92 w 245"/>
              <a:gd name="T3" fmla="*/ 48 h 212"/>
              <a:gd name="T4" fmla="*/ 183 w 245"/>
              <a:gd name="T5" fmla="*/ 48 h 212"/>
              <a:gd name="T6" fmla="*/ 62 w 245"/>
              <a:gd name="T7" fmla="*/ 15 h 212"/>
              <a:gd name="T8" fmla="*/ 46 w 245"/>
              <a:gd name="T9" fmla="*/ 0 h 212"/>
              <a:gd name="T10" fmla="*/ 30 w 245"/>
              <a:gd name="T11" fmla="*/ 33 h 212"/>
              <a:gd name="T12" fmla="*/ 46 w 245"/>
              <a:gd name="T13" fmla="*/ 49 h 212"/>
              <a:gd name="T14" fmla="*/ 153 w 245"/>
              <a:gd name="T15" fmla="*/ 33 h 212"/>
              <a:gd name="T16" fmla="*/ 137 w 245"/>
              <a:gd name="T17" fmla="*/ 0 h 212"/>
              <a:gd name="T18" fmla="*/ 122 w 245"/>
              <a:gd name="T19" fmla="*/ 15 h 212"/>
              <a:gd name="T20" fmla="*/ 137 w 245"/>
              <a:gd name="T21" fmla="*/ 49 h 212"/>
              <a:gd name="T22" fmla="*/ 153 w 245"/>
              <a:gd name="T23" fmla="*/ 33 h 212"/>
              <a:gd name="T24" fmla="*/ 245 w 245"/>
              <a:gd name="T25" fmla="*/ 15 h 212"/>
              <a:gd name="T26" fmla="*/ 229 w 245"/>
              <a:gd name="T27" fmla="*/ 0 h 212"/>
              <a:gd name="T28" fmla="*/ 213 w 245"/>
              <a:gd name="T29" fmla="*/ 33 h 212"/>
              <a:gd name="T30" fmla="*/ 229 w 245"/>
              <a:gd name="T31" fmla="*/ 49 h 212"/>
              <a:gd name="T32" fmla="*/ 0 w 245"/>
              <a:gd name="T33" fmla="*/ 163 h 212"/>
              <a:gd name="T34" fmla="*/ 92 w 245"/>
              <a:gd name="T35" fmla="*/ 163 h 212"/>
              <a:gd name="T36" fmla="*/ 183 w 245"/>
              <a:gd name="T37" fmla="*/ 163 h 212"/>
              <a:gd name="T38" fmla="*/ 62 w 245"/>
              <a:gd name="T39" fmla="*/ 196 h 212"/>
              <a:gd name="T40" fmla="*/ 46 w 245"/>
              <a:gd name="T41" fmla="*/ 163 h 212"/>
              <a:gd name="T42" fmla="*/ 30 w 245"/>
              <a:gd name="T43" fmla="*/ 179 h 212"/>
              <a:gd name="T44" fmla="*/ 46 w 245"/>
              <a:gd name="T45" fmla="*/ 212 h 212"/>
              <a:gd name="T46" fmla="*/ 62 w 245"/>
              <a:gd name="T47" fmla="*/ 196 h 212"/>
              <a:gd name="T48" fmla="*/ 153 w 245"/>
              <a:gd name="T49" fmla="*/ 179 h 212"/>
              <a:gd name="T50" fmla="*/ 137 w 245"/>
              <a:gd name="T51" fmla="*/ 163 h 212"/>
              <a:gd name="T52" fmla="*/ 122 w 245"/>
              <a:gd name="T53" fmla="*/ 196 h 212"/>
              <a:gd name="T54" fmla="*/ 137 w 245"/>
              <a:gd name="T55" fmla="*/ 212 h 212"/>
              <a:gd name="T56" fmla="*/ 245 w 245"/>
              <a:gd name="T57" fmla="*/ 196 h 212"/>
              <a:gd name="T58" fmla="*/ 229 w 245"/>
              <a:gd name="T59" fmla="*/ 163 h 212"/>
              <a:gd name="T60" fmla="*/ 213 w 245"/>
              <a:gd name="T61" fmla="*/ 179 h 212"/>
              <a:gd name="T62" fmla="*/ 229 w 245"/>
              <a:gd name="T63" fmla="*/ 212 h 212"/>
              <a:gd name="T64" fmla="*/ 245 w 245"/>
              <a:gd name="T65" fmla="*/ 196 h 212"/>
              <a:gd name="T66" fmla="*/ 62 w 245"/>
              <a:gd name="T67" fmla="*/ 131 h 212"/>
              <a:gd name="T68" fmla="*/ 153 w 245"/>
              <a:gd name="T69" fmla="*/ 131 h 212"/>
              <a:gd name="T70" fmla="*/ 32 w 245"/>
              <a:gd name="T71" fmla="*/ 98 h 212"/>
              <a:gd name="T72" fmla="*/ 16 w 245"/>
              <a:gd name="T73" fmla="*/ 83 h 212"/>
              <a:gd name="T74" fmla="*/ 0 w 245"/>
              <a:gd name="T75" fmla="*/ 116 h 212"/>
              <a:gd name="T76" fmla="*/ 16 w 245"/>
              <a:gd name="T77" fmla="*/ 132 h 212"/>
              <a:gd name="T78" fmla="*/ 123 w 245"/>
              <a:gd name="T79" fmla="*/ 116 h 212"/>
              <a:gd name="T80" fmla="*/ 107 w 245"/>
              <a:gd name="T81" fmla="*/ 83 h 212"/>
              <a:gd name="T82" fmla="*/ 92 w 245"/>
              <a:gd name="T83" fmla="*/ 98 h 212"/>
              <a:gd name="T84" fmla="*/ 107 w 245"/>
              <a:gd name="T85" fmla="*/ 132 h 212"/>
              <a:gd name="T86" fmla="*/ 123 w 245"/>
              <a:gd name="T87" fmla="*/ 116 h 212"/>
              <a:gd name="T88" fmla="*/ 215 w 245"/>
              <a:gd name="T89" fmla="*/ 98 h 212"/>
              <a:gd name="T90" fmla="*/ 199 w 245"/>
              <a:gd name="T91" fmla="*/ 83 h 212"/>
              <a:gd name="T92" fmla="*/ 183 w 245"/>
              <a:gd name="T93" fmla="*/ 116 h 212"/>
              <a:gd name="T94" fmla="*/ 199 w 245"/>
              <a:gd name="T95" fmla="*/ 132 h 212"/>
              <a:gd name="T96" fmla="*/ 245 w 245"/>
              <a:gd name="T97" fmla="*/ 83 h 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45" h="212">
                <a:moveTo>
                  <a:pt x="0" y="0"/>
                </a:moveTo>
                <a:cubicBezTo>
                  <a:pt x="0" y="48"/>
                  <a:pt x="0" y="48"/>
                  <a:pt x="0" y="48"/>
                </a:cubicBezTo>
                <a:moveTo>
                  <a:pt x="92" y="0"/>
                </a:moveTo>
                <a:cubicBezTo>
                  <a:pt x="92" y="48"/>
                  <a:pt x="92" y="48"/>
                  <a:pt x="92" y="48"/>
                </a:cubicBezTo>
                <a:moveTo>
                  <a:pt x="183" y="0"/>
                </a:moveTo>
                <a:cubicBezTo>
                  <a:pt x="183" y="48"/>
                  <a:pt x="183" y="48"/>
                  <a:pt x="183" y="48"/>
                </a:cubicBezTo>
                <a:moveTo>
                  <a:pt x="62" y="33"/>
                </a:moveTo>
                <a:cubicBezTo>
                  <a:pt x="62" y="15"/>
                  <a:pt x="62" y="15"/>
                  <a:pt x="62" y="15"/>
                </a:cubicBezTo>
                <a:cubicBezTo>
                  <a:pt x="62" y="7"/>
                  <a:pt x="55" y="0"/>
                  <a:pt x="46" y="0"/>
                </a:cubicBezTo>
                <a:cubicBezTo>
                  <a:pt x="46" y="0"/>
                  <a:pt x="46" y="0"/>
                  <a:pt x="46" y="0"/>
                </a:cubicBezTo>
                <a:cubicBezTo>
                  <a:pt x="37" y="0"/>
                  <a:pt x="30" y="7"/>
                  <a:pt x="30" y="15"/>
                </a:cubicBezTo>
                <a:cubicBezTo>
                  <a:pt x="30" y="33"/>
                  <a:pt x="30" y="33"/>
                  <a:pt x="30" y="33"/>
                </a:cubicBezTo>
                <a:cubicBezTo>
                  <a:pt x="30" y="41"/>
                  <a:pt x="37" y="49"/>
                  <a:pt x="46" y="49"/>
                </a:cubicBezTo>
                <a:cubicBezTo>
                  <a:pt x="46" y="49"/>
                  <a:pt x="46" y="49"/>
                  <a:pt x="46" y="49"/>
                </a:cubicBezTo>
                <a:cubicBezTo>
                  <a:pt x="55" y="49"/>
                  <a:pt x="62" y="41"/>
                  <a:pt x="62" y="33"/>
                </a:cubicBezTo>
                <a:close/>
                <a:moveTo>
                  <a:pt x="153" y="33"/>
                </a:moveTo>
                <a:cubicBezTo>
                  <a:pt x="153" y="15"/>
                  <a:pt x="153" y="15"/>
                  <a:pt x="153" y="15"/>
                </a:cubicBezTo>
                <a:cubicBezTo>
                  <a:pt x="153" y="7"/>
                  <a:pt x="146" y="0"/>
                  <a:pt x="137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9" y="0"/>
                  <a:pt x="122" y="7"/>
                  <a:pt x="122" y="15"/>
                </a:cubicBezTo>
                <a:cubicBezTo>
                  <a:pt x="122" y="33"/>
                  <a:pt x="122" y="33"/>
                  <a:pt x="122" y="33"/>
                </a:cubicBezTo>
                <a:cubicBezTo>
                  <a:pt x="122" y="41"/>
                  <a:pt x="129" y="49"/>
                  <a:pt x="137" y="49"/>
                </a:cubicBezTo>
                <a:cubicBezTo>
                  <a:pt x="137" y="49"/>
                  <a:pt x="137" y="49"/>
                  <a:pt x="137" y="49"/>
                </a:cubicBezTo>
                <a:cubicBezTo>
                  <a:pt x="146" y="49"/>
                  <a:pt x="153" y="41"/>
                  <a:pt x="153" y="33"/>
                </a:cubicBezTo>
                <a:close/>
                <a:moveTo>
                  <a:pt x="245" y="33"/>
                </a:moveTo>
                <a:cubicBezTo>
                  <a:pt x="245" y="15"/>
                  <a:pt x="245" y="15"/>
                  <a:pt x="245" y="15"/>
                </a:cubicBezTo>
                <a:cubicBezTo>
                  <a:pt x="245" y="7"/>
                  <a:pt x="237" y="0"/>
                  <a:pt x="229" y="0"/>
                </a:cubicBezTo>
                <a:cubicBezTo>
                  <a:pt x="229" y="0"/>
                  <a:pt x="229" y="0"/>
                  <a:pt x="229" y="0"/>
                </a:cubicBezTo>
                <a:cubicBezTo>
                  <a:pt x="220" y="0"/>
                  <a:pt x="213" y="7"/>
                  <a:pt x="213" y="15"/>
                </a:cubicBezTo>
                <a:cubicBezTo>
                  <a:pt x="213" y="33"/>
                  <a:pt x="213" y="33"/>
                  <a:pt x="213" y="33"/>
                </a:cubicBezTo>
                <a:cubicBezTo>
                  <a:pt x="213" y="41"/>
                  <a:pt x="220" y="49"/>
                  <a:pt x="229" y="49"/>
                </a:cubicBezTo>
                <a:cubicBezTo>
                  <a:pt x="229" y="49"/>
                  <a:pt x="229" y="49"/>
                  <a:pt x="229" y="49"/>
                </a:cubicBezTo>
                <a:cubicBezTo>
                  <a:pt x="237" y="49"/>
                  <a:pt x="245" y="41"/>
                  <a:pt x="245" y="33"/>
                </a:cubicBezTo>
                <a:close/>
                <a:moveTo>
                  <a:pt x="0" y="163"/>
                </a:moveTo>
                <a:cubicBezTo>
                  <a:pt x="0" y="212"/>
                  <a:pt x="0" y="212"/>
                  <a:pt x="0" y="212"/>
                </a:cubicBezTo>
                <a:moveTo>
                  <a:pt x="92" y="163"/>
                </a:moveTo>
                <a:cubicBezTo>
                  <a:pt x="92" y="212"/>
                  <a:pt x="92" y="212"/>
                  <a:pt x="92" y="212"/>
                </a:cubicBezTo>
                <a:moveTo>
                  <a:pt x="183" y="163"/>
                </a:moveTo>
                <a:cubicBezTo>
                  <a:pt x="183" y="212"/>
                  <a:pt x="183" y="212"/>
                  <a:pt x="183" y="212"/>
                </a:cubicBezTo>
                <a:moveTo>
                  <a:pt x="62" y="196"/>
                </a:moveTo>
                <a:cubicBezTo>
                  <a:pt x="62" y="179"/>
                  <a:pt x="62" y="179"/>
                  <a:pt x="62" y="179"/>
                </a:cubicBezTo>
                <a:cubicBezTo>
                  <a:pt x="62" y="170"/>
                  <a:pt x="55" y="163"/>
                  <a:pt x="46" y="163"/>
                </a:cubicBezTo>
                <a:cubicBezTo>
                  <a:pt x="46" y="163"/>
                  <a:pt x="46" y="163"/>
                  <a:pt x="46" y="163"/>
                </a:cubicBezTo>
                <a:cubicBezTo>
                  <a:pt x="37" y="163"/>
                  <a:pt x="30" y="170"/>
                  <a:pt x="30" y="179"/>
                </a:cubicBezTo>
                <a:cubicBezTo>
                  <a:pt x="30" y="196"/>
                  <a:pt x="30" y="196"/>
                  <a:pt x="30" y="196"/>
                </a:cubicBezTo>
                <a:cubicBezTo>
                  <a:pt x="30" y="205"/>
                  <a:pt x="37" y="212"/>
                  <a:pt x="46" y="212"/>
                </a:cubicBezTo>
                <a:cubicBezTo>
                  <a:pt x="46" y="212"/>
                  <a:pt x="46" y="212"/>
                  <a:pt x="46" y="212"/>
                </a:cubicBezTo>
                <a:cubicBezTo>
                  <a:pt x="55" y="212"/>
                  <a:pt x="62" y="205"/>
                  <a:pt x="62" y="196"/>
                </a:cubicBezTo>
                <a:close/>
                <a:moveTo>
                  <a:pt x="153" y="196"/>
                </a:moveTo>
                <a:cubicBezTo>
                  <a:pt x="153" y="179"/>
                  <a:pt x="153" y="179"/>
                  <a:pt x="153" y="179"/>
                </a:cubicBezTo>
                <a:cubicBezTo>
                  <a:pt x="153" y="170"/>
                  <a:pt x="146" y="163"/>
                  <a:pt x="137" y="163"/>
                </a:cubicBezTo>
                <a:cubicBezTo>
                  <a:pt x="137" y="163"/>
                  <a:pt x="137" y="163"/>
                  <a:pt x="137" y="163"/>
                </a:cubicBezTo>
                <a:cubicBezTo>
                  <a:pt x="129" y="163"/>
                  <a:pt x="122" y="170"/>
                  <a:pt x="122" y="179"/>
                </a:cubicBezTo>
                <a:cubicBezTo>
                  <a:pt x="122" y="196"/>
                  <a:pt x="122" y="196"/>
                  <a:pt x="122" y="196"/>
                </a:cubicBezTo>
                <a:cubicBezTo>
                  <a:pt x="122" y="205"/>
                  <a:pt x="129" y="212"/>
                  <a:pt x="137" y="212"/>
                </a:cubicBezTo>
                <a:cubicBezTo>
                  <a:pt x="137" y="212"/>
                  <a:pt x="137" y="212"/>
                  <a:pt x="137" y="212"/>
                </a:cubicBezTo>
                <a:cubicBezTo>
                  <a:pt x="146" y="212"/>
                  <a:pt x="153" y="205"/>
                  <a:pt x="153" y="196"/>
                </a:cubicBezTo>
                <a:close/>
                <a:moveTo>
                  <a:pt x="245" y="196"/>
                </a:moveTo>
                <a:cubicBezTo>
                  <a:pt x="245" y="179"/>
                  <a:pt x="245" y="179"/>
                  <a:pt x="245" y="179"/>
                </a:cubicBezTo>
                <a:cubicBezTo>
                  <a:pt x="245" y="170"/>
                  <a:pt x="237" y="163"/>
                  <a:pt x="229" y="163"/>
                </a:cubicBezTo>
                <a:cubicBezTo>
                  <a:pt x="229" y="163"/>
                  <a:pt x="229" y="163"/>
                  <a:pt x="229" y="163"/>
                </a:cubicBezTo>
                <a:cubicBezTo>
                  <a:pt x="220" y="163"/>
                  <a:pt x="213" y="170"/>
                  <a:pt x="213" y="179"/>
                </a:cubicBezTo>
                <a:cubicBezTo>
                  <a:pt x="213" y="196"/>
                  <a:pt x="213" y="196"/>
                  <a:pt x="213" y="196"/>
                </a:cubicBezTo>
                <a:cubicBezTo>
                  <a:pt x="213" y="205"/>
                  <a:pt x="220" y="212"/>
                  <a:pt x="229" y="212"/>
                </a:cubicBezTo>
                <a:cubicBezTo>
                  <a:pt x="229" y="212"/>
                  <a:pt x="229" y="212"/>
                  <a:pt x="229" y="212"/>
                </a:cubicBezTo>
                <a:cubicBezTo>
                  <a:pt x="237" y="212"/>
                  <a:pt x="245" y="205"/>
                  <a:pt x="245" y="196"/>
                </a:cubicBezTo>
                <a:close/>
                <a:moveTo>
                  <a:pt x="62" y="83"/>
                </a:moveTo>
                <a:cubicBezTo>
                  <a:pt x="62" y="131"/>
                  <a:pt x="62" y="131"/>
                  <a:pt x="62" y="131"/>
                </a:cubicBezTo>
                <a:moveTo>
                  <a:pt x="153" y="83"/>
                </a:moveTo>
                <a:cubicBezTo>
                  <a:pt x="153" y="131"/>
                  <a:pt x="153" y="131"/>
                  <a:pt x="153" y="131"/>
                </a:cubicBezTo>
                <a:moveTo>
                  <a:pt x="32" y="116"/>
                </a:moveTo>
                <a:cubicBezTo>
                  <a:pt x="32" y="98"/>
                  <a:pt x="32" y="98"/>
                  <a:pt x="32" y="98"/>
                </a:cubicBezTo>
                <a:cubicBezTo>
                  <a:pt x="32" y="90"/>
                  <a:pt x="25" y="83"/>
                  <a:pt x="16" y="83"/>
                </a:cubicBezTo>
                <a:cubicBezTo>
                  <a:pt x="16" y="83"/>
                  <a:pt x="16" y="83"/>
                  <a:pt x="16" y="83"/>
                </a:cubicBezTo>
                <a:cubicBezTo>
                  <a:pt x="7" y="83"/>
                  <a:pt x="0" y="90"/>
                  <a:pt x="0" y="98"/>
                </a:cubicBezTo>
                <a:cubicBezTo>
                  <a:pt x="0" y="116"/>
                  <a:pt x="0" y="116"/>
                  <a:pt x="0" y="116"/>
                </a:cubicBezTo>
                <a:cubicBezTo>
                  <a:pt x="0" y="124"/>
                  <a:pt x="7" y="132"/>
                  <a:pt x="16" y="132"/>
                </a:cubicBezTo>
                <a:cubicBezTo>
                  <a:pt x="16" y="132"/>
                  <a:pt x="16" y="132"/>
                  <a:pt x="16" y="132"/>
                </a:cubicBezTo>
                <a:cubicBezTo>
                  <a:pt x="25" y="132"/>
                  <a:pt x="32" y="124"/>
                  <a:pt x="32" y="116"/>
                </a:cubicBezTo>
                <a:close/>
                <a:moveTo>
                  <a:pt x="123" y="116"/>
                </a:moveTo>
                <a:cubicBezTo>
                  <a:pt x="123" y="98"/>
                  <a:pt x="123" y="98"/>
                  <a:pt x="123" y="98"/>
                </a:cubicBezTo>
                <a:cubicBezTo>
                  <a:pt x="123" y="90"/>
                  <a:pt x="116" y="83"/>
                  <a:pt x="107" y="83"/>
                </a:cubicBezTo>
                <a:cubicBezTo>
                  <a:pt x="107" y="83"/>
                  <a:pt x="107" y="83"/>
                  <a:pt x="107" y="83"/>
                </a:cubicBezTo>
                <a:cubicBezTo>
                  <a:pt x="99" y="83"/>
                  <a:pt x="92" y="90"/>
                  <a:pt x="92" y="98"/>
                </a:cubicBezTo>
                <a:cubicBezTo>
                  <a:pt x="92" y="116"/>
                  <a:pt x="92" y="116"/>
                  <a:pt x="92" y="116"/>
                </a:cubicBezTo>
                <a:cubicBezTo>
                  <a:pt x="92" y="124"/>
                  <a:pt x="99" y="132"/>
                  <a:pt x="107" y="132"/>
                </a:cubicBezTo>
                <a:cubicBezTo>
                  <a:pt x="107" y="132"/>
                  <a:pt x="107" y="132"/>
                  <a:pt x="107" y="132"/>
                </a:cubicBezTo>
                <a:cubicBezTo>
                  <a:pt x="116" y="132"/>
                  <a:pt x="123" y="124"/>
                  <a:pt x="123" y="116"/>
                </a:cubicBezTo>
                <a:close/>
                <a:moveTo>
                  <a:pt x="215" y="116"/>
                </a:moveTo>
                <a:cubicBezTo>
                  <a:pt x="215" y="98"/>
                  <a:pt x="215" y="98"/>
                  <a:pt x="215" y="98"/>
                </a:cubicBezTo>
                <a:cubicBezTo>
                  <a:pt x="215" y="90"/>
                  <a:pt x="207" y="83"/>
                  <a:pt x="199" y="83"/>
                </a:cubicBezTo>
                <a:cubicBezTo>
                  <a:pt x="199" y="83"/>
                  <a:pt x="199" y="83"/>
                  <a:pt x="199" y="83"/>
                </a:cubicBezTo>
                <a:cubicBezTo>
                  <a:pt x="190" y="83"/>
                  <a:pt x="183" y="90"/>
                  <a:pt x="183" y="98"/>
                </a:cubicBezTo>
                <a:cubicBezTo>
                  <a:pt x="183" y="116"/>
                  <a:pt x="183" y="116"/>
                  <a:pt x="183" y="116"/>
                </a:cubicBezTo>
                <a:cubicBezTo>
                  <a:pt x="183" y="124"/>
                  <a:pt x="190" y="132"/>
                  <a:pt x="199" y="132"/>
                </a:cubicBezTo>
                <a:cubicBezTo>
                  <a:pt x="199" y="132"/>
                  <a:pt x="199" y="132"/>
                  <a:pt x="199" y="132"/>
                </a:cubicBezTo>
                <a:cubicBezTo>
                  <a:pt x="207" y="132"/>
                  <a:pt x="215" y="124"/>
                  <a:pt x="215" y="116"/>
                </a:cubicBezTo>
                <a:close/>
                <a:moveTo>
                  <a:pt x="245" y="83"/>
                </a:moveTo>
                <a:cubicBezTo>
                  <a:pt x="245" y="131"/>
                  <a:pt x="245" y="131"/>
                  <a:pt x="245" y="131"/>
                </a:cubicBezTo>
              </a:path>
            </a:pathLst>
          </a:custGeom>
          <a:noFill/>
          <a:ln w="1905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729">
              <a:solidFill>
                <a:srgbClr val="353535"/>
              </a:solidFill>
              <a:latin typeface="Segoe UI Semiligh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DFAC1B3-97F0-8649-8232-4A79461D03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591612" y="3119512"/>
            <a:ext cx="789547" cy="503017"/>
            <a:chOff x="7086600" y="2836618"/>
            <a:chExt cx="1066800" cy="679655"/>
          </a:xfrm>
        </p:grpSpPr>
        <p:sp>
          <p:nvSpPr>
            <p:cNvPr id="12" name="cloud">
              <a:extLst>
                <a:ext uri="{FF2B5EF4-FFF2-40B4-BE49-F238E27FC236}">
                  <a16:creationId xmlns:a16="http://schemas.microsoft.com/office/drawing/2014/main" id="{DCD7CDF1-A106-2944-8779-F12E28AFC98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086600" y="2836618"/>
              <a:ext cx="1066800" cy="679655"/>
            </a:xfrm>
            <a:custGeom>
              <a:avLst/>
              <a:gdLst>
                <a:gd name="T0" fmla="*/ 281 w 344"/>
                <a:gd name="T1" fmla="*/ 216 h 217"/>
                <a:gd name="T2" fmla="*/ 281 w 344"/>
                <a:gd name="T3" fmla="*/ 217 h 217"/>
                <a:gd name="T4" fmla="*/ 88 w 344"/>
                <a:gd name="T5" fmla="*/ 217 h 217"/>
                <a:gd name="T6" fmla="*/ 88 w 344"/>
                <a:gd name="T7" fmla="*/ 217 h 217"/>
                <a:gd name="T8" fmla="*/ 86 w 344"/>
                <a:gd name="T9" fmla="*/ 217 h 217"/>
                <a:gd name="T10" fmla="*/ 0 w 344"/>
                <a:gd name="T11" fmla="*/ 130 h 217"/>
                <a:gd name="T12" fmla="*/ 86 w 344"/>
                <a:gd name="T13" fmla="*/ 44 h 217"/>
                <a:gd name="T14" fmla="*/ 104 w 344"/>
                <a:gd name="T15" fmla="*/ 45 h 217"/>
                <a:gd name="T16" fmla="*/ 184 w 344"/>
                <a:gd name="T17" fmla="*/ 0 h 217"/>
                <a:gd name="T18" fmla="*/ 278 w 344"/>
                <a:gd name="T19" fmla="*/ 85 h 217"/>
                <a:gd name="T20" fmla="*/ 278 w 344"/>
                <a:gd name="T21" fmla="*/ 85 h 217"/>
                <a:gd name="T22" fmla="*/ 344 w 344"/>
                <a:gd name="T23" fmla="*/ 151 h 217"/>
                <a:gd name="T24" fmla="*/ 281 w 344"/>
                <a:gd name="T25" fmla="*/ 216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4" h="217">
                  <a:moveTo>
                    <a:pt x="281" y="216"/>
                  </a:moveTo>
                  <a:cubicBezTo>
                    <a:pt x="281" y="217"/>
                    <a:pt x="281" y="217"/>
                    <a:pt x="281" y="217"/>
                  </a:cubicBezTo>
                  <a:cubicBezTo>
                    <a:pt x="88" y="217"/>
                    <a:pt x="88" y="217"/>
                    <a:pt x="88" y="217"/>
                  </a:cubicBezTo>
                  <a:cubicBezTo>
                    <a:pt x="88" y="217"/>
                    <a:pt x="88" y="217"/>
                    <a:pt x="88" y="217"/>
                  </a:cubicBezTo>
                  <a:cubicBezTo>
                    <a:pt x="87" y="217"/>
                    <a:pt x="87" y="217"/>
                    <a:pt x="86" y="217"/>
                  </a:cubicBezTo>
                  <a:cubicBezTo>
                    <a:pt x="39" y="217"/>
                    <a:pt x="0" y="178"/>
                    <a:pt x="0" y="130"/>
                  </a:cubicBezTo>
                  <a:cubicBezTo>
                    <a:pt x="0" y="82"/>
                    <a:pt x="39" y="44"/>
                    <a:pt x="86" y="44"/>
                  </a:cubicBezTo>
                  <a:cubicBezTo>
                    <a:pt x="92" y="44"/>
                    <a:pt x="98" y="44"/>
                    <a:pt x="104" y="45"/>
                  </a:cubicBezTo>
                  <a:cubicBezTo>
                    <a:pt x="121" y="18"/>
                    <a:pt x="150" y="0"/>
                    <a:pt x="184" y="0"/>
                  </a:cubicBezTo>
                  <a:cubicBezTo>
                    <a:pt x="233" y="0"/>
                    <a:pt x="273" y="37"/>
                    <a:pt x="278" y="85"/>
                  </a:cubicBezTo>
                  <a:cubicBezTo>
                    <a:pt x="278" y="85"/>
                    <a:pt x="278" y="85"/>
                    <a:pt x="278" y="85"/>
                  </a:cubicBezTo>
                  <a:cubicBezTo>
                    <a:pt x="315" y="85"/>
                    <a:pt x="344" y="114"/>
                    <a:pt x="344" y="151"/>
                  </a:cubicBezTo>
                  <a:cubicBezTo>
                    <a:pt x="344" y="186"/>
                    <a:pt x="316" y="215"/>
                    <a:pt x="281" y="216"/>
                  </a:cubicBezTo>
                  <a:close/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  <p:sp>
          <p:nvSpPr>
            <p:cNvPr id="13" name="Diagnostic_E9D9">
              <a:extLst>
                <a:ext uri="{FF2B5EF4-FFF2-40B4-BE49-F238E27FC236}">
                  <a16:creationId xmlns:a16="http://schemas.microsoft.com/office/drawing/2014/main" id="{9CCD036F-B87F-A04A-8678-BDF1DB6303C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452793" y="3055842"/>
              <a:ext cx="334414" cy="334578"/>
            </a:xfrm>
            <a:custGeom>
              <a:avLst/>
              <a:gdLst>
                <a:gd name="T0" fmla="*/ 0 w 3250"/>
                <a:gd name="T1" fmla="*/ 3250 h 3250"/>
                <a:gd name="T2" fmla="*/ 0 w 3250"/>
                <a:gd name="T3" fmla="*/ 0 h 3250"/>
                <a:gd name="T4" fmla="*/ 3250 w 3250"/>
                <a:gd name="T5" fmla="*/ 0 h 3250"/>
                <a:gd name="T6" fmla="*/ 3250 w 3250"/>
                <a:gd name="T7" fmla="*/ 3250 h 3250"/>
                <a:gd name="T8" fmla="*/ 0 w 3250"/>
                <a:gd name="T9" fmla="*/ 3250 h 3250"/>
                <a:gd name="T10" fmla="*/ 3250 w 3250"/>
                <a:gd name="T11" fmla="*/ 2000 h 3250"/>
                <a:gd name="T12" fmla="*/ 2553 w 3250"/>
                <a:gd name="T13" fmla="*/ 2000 h 3250"/>
                <a:gd name="T14" fmla="*/ 2535 w 3250"/>
                <a:gd name="T15" fmla="*/ 1985 h 3250"/>
                <a:gd name="T16" fmla="*/ 2379 w 3250"/>
                <a:gd name="T17" fmla="*/ 1362 h 3250"/>
                <a:gd name="T18" fmla="*/ 2360 w 3250"/>
                <a:gd name="T19" fmla="*/ 1347 h 3250"/>
                <a:gd name="T20" fmla="*/ 1987 w 3250"/>
                <a:gd name="T21" fmla="*/ 1347 h 3250"/>
                <a:gd name="T22" fmla="*/ 1969 w 3250"/>
                <a:gd name="T23" fmla="*/ 1332 h 3250"/>
                <a:gd name="T24" fmla="*/ 1768 w 3250"/>
                <a:gd name="T25" fmla="*/ 512 h 3250"/>
                <a:gd name="T26" fmla="*/ 1731 w 3250"/>
                <a:gd name="T27" fmla="*/ 512 h 3250"/>
                <a:gd name="T28" fmla="*/ 1227 w 3250"/>
                <a:gd name="T29" fmla="*/ 2467 h 3250"/>
                <a:gd name="T30" fmla="*/ 1195 w 3250"/>
                <a:gd name="T31" fmla="*/ 2476 h 3250"/>
                <a:gd name="T32" fmla="*/ 732 w 3250"/>
                <a:gd name="T33" fmla="*/ 2014 h 3250"/>
                <a:gd name="T34" fmla="*/ 705 w 3250"/>
                <a:gd name="T35" fmla="*/ 2014 h 3250"/>
                <a:gd name="T36" fmla="*/ 474 w 3250"/>
                <a:gd name="T37" fmla="*/ 2244 h 3250"/>
                <a:gd name="T38" fmla="*/ 461 w 3250"/>
                <a:gd name="T39" fmla="*/ 2250 h 3250"/>
                <a:gd name="T40" fmla="*/ 0 w 3250"/>
                <a:gd name="T41" fmla="*/ 2250 h 3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0" h="3250">
                  <a:moveTo>
                    <a:pt x="0" y="325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250" y="0"/>
                    <a:pt x="3250" y="0"/>
                    <a:pt x="3250" y="0"/>
                  </a:cubicBezTo>
                  <a:cubicBezTo>
                    <a:pt x="3250" y="3250"/>
                    <a:pt x="3250" y="3250"/>
                    <a:pt x="3250" y="3250"/>
                  </a:cubicBezTo>
                  <a:lnTo>
                    <a:pt x="0" y="3250"/>
                  </a:lnTo>
                  <a:close/>
                  <a:moveTo>
                    <a:pt x="3250" y="2000"/>
                  </a:moveTo>
                  <a:cubicBezTo>
                    <a:pt x="2553" y="2000"/>
                    <a:pt x="2553" y="2000"/>
                    <a:pt x="2553" y="2000"/>
                  </a:cubicBezTo>
                  <a:cubicBezTo>
                    <a:pt x="2544" y="2000"/>
                    <a:pt x="2537" y="1994"/>
                    <a:pt x="2535" y="1985"/>
                  </a:cubicBezTo>
                  <a:cubicBezTo>
                    <a:pt x="2379" y="1362"/>
                    <a:pt x="2379" y="1362"/>
                    <a:pt x="2379" y="1362"/>
                  </a:cubicBezTo>
                  <a:cubicBezTo>
                    <a:pt x="2377" y="1353"/>
                    <a:pt x="2369" y="1347"/>
                    <a:pt x="2360" y="1347"/>
                  </a:cubicBezTo>
                  <a:cubicBezTo>
                    <a:pt x="1987" y="1347"/>
                    <a:pt x="1987" y="1347"/>
                    <a:pt x="1987" y="1347"/>
                  </a:cubicBezTo>
                  <a:cubicBezTo>
                    <a:pt x="1978" y="1347"/>
                    <a:pt x="1971" y="1341"/>
                    <a:pt x="1969" y="1332"/>
                  </a:cubicBezTo>
                  <a:cubicBezTo>
                    <a:pt x="1768" y="512"/>
                    <a:pt x="1768" y="512"/>
                    <a:pt x="1768" y="512"/>
                  </a:cubicBezTo>
                  <a:cubicBezTo>
                    <a:pt x="1764" y="493"/>
                    <a:pt x="1736" y="493"/>
                    <a:pt x="1731" y="512"/>
                  </a:cubicBezTo>
                  <a:cubicBezTo>
                    <a:pt x="1227" y="2467"/>
                    <a:pt x="1227" y="2467"/>
                    <a:pt x="1227" y="2467"/>
                  </a:cubicBezTo>
                  <a:cubicBezTo>
                    <a:pt x="1223" y="2482"/>
                    <a:pt x="1205" y="2487"/>
                    <a:pt x="1195" y="2476"/>
                  </a:cubicBezTo>
                  <a:cubicBezTo>
                    <a:pt x="732" y="2014"/>
                    <a:pt x="732" y="2014"/>
                    <a:pt x="732" y="2014"/>
                  </a:cubicBezTo>
                  <a:cubicBezTo>
                    <a:pt x="725" y="2006"/>
                    <a:pt x="713" y="2006"/>
                    <a:pt x="705" y="2014"/>
                  </a:cubicBezTo>
                  <a:cubicBezTo>
                    <a:pt x="474" y="2244"/>
                    <a:pt x="474" y="2244"/>
                    <a:pt x="474" y="2244"/>
                  </a:cubicBezTo>
                  <a:cubicBezTo>
                    <a:pt x="471" y="2248"/>
                    <a:pt x="466" y="2250"/>
                    <a:pt x="461" y="2250"/>
                  </a:cubicBezTo>
                  <a:cubicBezTo>
                    <a:pt x="0" y="2250"/>
                    <a:pt x="0" y="2250"/>
                    <a:pt x="0" y="2250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836">
                <a:solidFill>
                  <a:srgbClr val="353535"/>
                </a:solidFill>
                <a:latin typeface="Segoe UI Semi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9206079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1DB05D-7F50-4989-9D24-818179A0D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edback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E7A355-DCA1-4446-AF58-3A2C90B8D0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4025717"/>
          </a:xfrm>
        </p:spPr>
        <p:txBody>
          <a:bodyPr/>
          <a:lstStyle/>
          <a:p>
            <a:pPr marL="0" indent="0">
              <a:buNone/>
            </a:pPr>
            <a:endParaRPr lang="en-US" sz="3600" dirty="0"/>
          </a:p>
          <a:p>
            <a:pPr marL="0" indent="0">
              <a:buNone/>
            </a:pPr>
            <a:r>
              <a:rPr lang="en-US" sz="2400" dirty="0"/>
              <a:t>Please take a minute to complete this surve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>
                <a:hlinkClick r:id="rId2"/>
              </a:rPr>
              <a:t>https://microsoftanalystrelation.eventbuilder.com/event/9920/survey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2400" dirty="0"/>
              <a:t>This survey will help us deliver the best content for future sessions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74AC7A1-6A7D-4DAA-ABE7-E97E7E00C32C}"/>
              </a:ext>
            </a:extLst>
          </p:cNvPr>
          <p:cNvSpPr txBox="1"/>
          <p:nvPr/>
        </p:nvSpPr>
        <p:spPr>
          <a:xfrm>
            <a:off x="8004171" y="6400799"/>
            <a:ext cx="405923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>
                <a:hlinkClick r:id="rId3"/>
              </a:rPr>
              <a:t>https://www.linkedin.com/in/jasonvirtue</a:t>
            </a:r>
            <a:r>
              <a:rPr lang="en-US" dirty="0"/>
              <a:t> </a:t>
            </a: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4C42B62-53BF-435A-84BF-34545DBF02FF}"/>
              </a:ext>
            </a:extLst>
          </p:cNvPr>
          <p:cNvSpPr txBox="1"/>
          <p:nvPr/>
        </p:nvSpPr>
        <p:spPr>
          <a:xfrm>
            <a:off x="584200" y="6400799"/>
            <a:ext cx="4059238" cy="5847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>
                <a:hlinkClick r:id="rId4" tooltip="https://www.linkedin.com/in/marktab/"/>
              </a:rPr>
              <a:t>https://www.linkedin.com/in/marktab/</a:t>
            </a:r>
            <a:endParaRPr lang="en-US" dirty="0"/>
          </a:p>
          <a:p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74035209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7ED500C-6CA2-4E91-AEAD-D196D64A7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084173"/>
            <a:ext cx="11653523" cy="2356286"/>
          </a:xfrm>
        </p:spPr>
        <p:txBody>
          <a:bodyPr/>
          <a:lstStyle/>
          <a:p>
            <a:r>
              <a:rPr lang="en-US"/>
              <a:t>What does DevOps for AI mean?</a:t>
            </a:r>
          </a:p>
        </p:txBody>
      </p:sp>
    </p:spTree>
    <p:extLst>
      <p:ext uri="{BB962C8B-B14F-4D97-AF65-F5344CB8AC3E}">
        <p14:creationId xmlns:p14="http://schemas.microsoft.com/office/powerpoint/2010/main" val="1905683991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solidFill>
                  <a:schemeClr val="tx1"/>
                </a:solidFill>
              </a:rPr>
              <a:t>AI DevOps lifecycle</a:t>
            </a:r>
          </a:p>
        </p:txBody>
      </p:sp>
      <p:sp>
        <p:nvSpPr>
          <p:cNvPr id="140" name="TextBox 8">
            <a:extLst>
              <a:ext uri="{FF2B5EF4-FFF2-40B4-BE49-F238E27FC236}">
                <a16:creationId xmlns:a16="http://schemas.microsoft.com/office/drawing/2014/main" id="{C9C72490-9715-440A-963C-BD1E0CD77FCA}"/>
              </a:ext>
            </a:extLst>
          </p:cNvPr>
          <p:cNvSpPr txBox="1"/>
          <p:nvPr/>
        </p:nvSpPr>
        <p:spPr>
          <a:xfrm>
            <a:off x="778073" y="4856206"/>
            <a:ext cx="3130428" cy="12534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45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Experiment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Data Acquisition 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Business Understanding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Initial Modeling</a:t>
            </a:r>
          </a:p>
        </p:txBody>
      </p:sp>
      <p:sp>
        <p:nvSpPr>
          <p:cNvPr id="141" name="TextBox 8">
            <a:extLst>
              <a:ext uri="{FF2B5EF4-FFF2-40B4-BE49-F238E27FC236}">
                <a16:creationId xmlns:a16="http://schemas.microsoft.com/office/drawing/2014/main" id="{EC787D24-B4BA-426A-AED2-3452B1B39754}"/>
              </a:ext>
            </a:extLst>
          </p:cNvPr>
          <p:cNvSpPr txBox="1"/>
          <p:nvPr/>
        </p:nvSpPr>
        <p:spPr>
          <a:xfrm>
            <a:off x="4897463" y="4856206"/>
            <a:ext cx="3130428" cy="6994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45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Develop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Modeling</a:t>
            </a:r>
            <a:endParaRPr kumimoji="0" lang="en-US" sz="1800" b="1" i="0" u="none" strike="noStrike" kern="800" cap="none" spc="98" normalizeH="0" baseline="0" noProof="0">
              <a:ln>
                <a:noFill/>
              </a:ln>
              <a:solidFill>
                <a:srgbClr val="0078D4"/>
              </a:solidFill>
              <a:effectLst/>
              <a:uLnTx/>
              <a:uFillTx/>
              <a:latin typeface="Segoe UI Light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142" name="TextBox 44">
            <a:extLst>
              <a:ext uri="{FF2B5EF4-FFF2-40B4-BE49-F238E27FC236}">
                <a16:creationId xmlns:a16="http://schemas.microsoft.com/office/drawing/2014/main" id="{89B7706A-696C-4DD4-BC16-63897AC86E47}"/>
              </a:ext>
            </a:extLst>
          </p:cNvPr>
          <p:cNvSpPr txBox="1"/>
          <p:nvPr/>
        </p:nvSpPr>
        <p:spPr>
          <a:xfrm>
            <a:off x="8361105" y="4858527"/>
            <a:ext cx="3129224" cy="16758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745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Operate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Continuous Delivery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Data Feedback Loop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System + Model Monitoring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45" b="0" i="0" u="none" strike="noStrike" kern="800" cap="none" spc="98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 Light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143" name="Freeform 28">
            <a:extLst>
              <a:ext uri="{FF2B5EF4-FFF2-40B4-BE49-F238E27FC236}">
                <a16:creationId xmlns:a16="http://schemas.microsoft.com/office/drawing/2014/main" id="{23EE7238-0B6D-475B-B96D-046C04D12A42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 rot="2781258">
            <a:off x="2804848" y="2147510"/>
            <a:ext cx="1824326" cy="1855063"/>
          </a:xfrm>
          <a:custGeom>
            <a:avLst/>
            <a:gdLst>
              <a:gd name="T0" fmla="*/ 853546768 w 425"/>
              <a:gd name="T1" fmla="*/ 2147483647 h 425"/>
              <a:gd name="T2" fmla="*/ 362757401 w 425"/>
              <a:gd name="T3" fmla="*/ 718866784 h 425"/>
              <a:gd name="T4" fmla="*/ 2147483647 w 425"/>
              <a:gd name="T5" fmla="*/ 308085710 h 425"/>
              <a:gd name="T6" fmla="*/ 2147483647 w 425"/>
              <a:gd name="T7" fmla="*/ 1842473085 h 425"/>
              <a:gd name="T8" fmla="*/ 853546768 w 425"/>
              <a:gd name="T9" fmla="*/ 2147483647 h 4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25"/>
              <a:gd name="T16" fmla="*/ 0 h 425"/>
              <a:gd name="T17" fmla="*/ 425 w 425"/>
              <a:gd name="T18" fmla="*/ 425 h 42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25" h="425">
                <a:moveTo>
                  <a:pt x="120" y="373"/>
                </a:moveTo>
                <a:cubicBezTo>
                  <a:pt x="31" y="322"/>
                  <a:pt x="0" y="208"/>
                  <a:pt x="51" y="119"/>
                </a:cubicBezTo>
                <a:cubicBezTo>
                  <a:pt x="103" y="30"/>
                  <a:pt x="217" y="0"/>
                  <a:pt x="306" y="51"/>
                </a:cubicBezTo>
                <a:cubicBezTo>
                  <a:pt x="394" y="103"/>
                  <a:pt x="425" y="216"/>
                  <a:pt x="374" y="305"/>
                </a:cubicBezTo>
                <a:cubicBezTo>
                  <a:pt x="322" y="394"/>
                  <a:pt x="208" y="425"/>
                  <a:pt x="120" y="373"/>
                </a:cubicBezTo>
                <a:close/>
              </a:path>
            </a:pathLst>
          </a:custGeom>
          <a:noFill/>
          <a:ln w="3175">
            <a:noFill/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54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55" name="Freeform 39">
            <a:extLst>
              <a:ext uri="{FF2B5EF4-FFF2-40B4-BE49-F238E27FC236}">
                <a16:creationId xmlns:a16="http://schemas.microsoft.com/office/drawing/2014/main" id="{D68604F8-4686-4EF9-B60D-63E8F06A2124}"/>
              </a:ext>
            </a:extLst>
          </p:cNvPr>
          <p:cNvSpPr>
            <a:spLocks noEditPoints="1"/>
          </p:cNvSpPr>
          <p:nvPr/>
        </p:nvSpPr>
        <p:spPr bwMode="auto">
          <a:xfrm rot="326988" flipH="1">
            <a:off x="6654368" y="2295014"/>
            <a:ext cx="161461" cy="275479"/>
          </a:xfrm>
          <a:custGeom>
            <a:avLst/>
            <a:gdLst>
              <a:gd name="T0" fmla="*/ 112 w 112"/>
              <a:gd name="T1" fmla="*/ 56 h 190"/>
              <a:gd name="T2" fmla="*/ 56 w 112"/>
              <a:gd name="T3" fmla="*/ 0 h 190"/>
              <a:gd name="T4" fmla="*/ 0 w 112"/>
              <a:gd name="T5" fmla="*/ 56 h 190"/>
              <a:gd name="T6" fmla="*/ 49 w 112"/>
              <a:gd name="T7" fmla="*/ 112 h 190"/>
              <a:gd name="T8" fmla="*/ 49 w 112"/>
              <a:gd name="T9" fmla="*/ 125 h 190"/>
              <a:gd name="T10" fmla="*/ 43 w 112"/>
              <a:gd name="T11" fmla="*/ 125 h 190"/>
              <a:gd name="T12" fmla="*/ 43 w 112"/>
              <a:gd name="T13" fmla="*/ 190 h 190"/>
              <a:gd name="T14" fmla="*/ 69 w 112"/>
              <a:gd name="T15" fmla="*/ 190 h 190"/>
              <a:gd name="T16" fmla="*/ 69 w 112"/>
              <a:gd name="T17" fmla="*/ 125 h 190"/>
              <a:gd name="T18" fmla="*/ 63 w 112"/>
              <a:gd name="T19" fmla="*/ 125 h 190"/>
              <a:gd name="T20" fmla="*/ 63 w 112"/>
              <a:gd name="T21" fmla="*/ 112 h 190"/>
              <a:gd name="T22" fmla="*/ 112 w 112"/>
              <a:gd name="T23" fmla="*/ 56 h 190"/>
              <a:gd name="T24" fmla="*/ 21 w 112"/>
              <a:gd name="T25" fmla="*/ 56 h 190"/>
              <a:gd name="T26" fmla="*/ 56 w 112"/>
              <a:gd name="T27" fmla="*/ 21 h 190"/>
              <a:gd name="T28" fmla="*/ 92 w 112"/>
              <a:gd name="T29" fmla="*/ 56 h 190"/>
              <a:gd name="T30" fmla="*/ 56 w 112"/>
              <a:gd name="T31" fmla="*/ 92 h 190"/>
              <a:gd name="T32" fmla="*/ 21 w 112"/>
              <a:gd name="T33" fmla="*/ 56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2" h="190">
                <a:moveTo>
                  <a:pt x="112" y="56"/>
                </a:moveTo>
                <a:cubicBezTo>
                  <a:pt x="112" y="25"/>
                  <a:pt x="87" y="0"/>
                  <a:pt x="56" y="0"/>
                </a:cubicBezTo>
                <a:cubicBezTo>
                  <a:pt x="25" y="0"/>
                  <a:pt x="0" y="25"/>
                  <a:pt x="0" y="56"/>
                </a:cubicBezTo>
                <a:cubicBezTo>
                  <a:pt x="0" y="85"/>
                  <a:pt x="22" y="109"/>
                  <a:pt x="49" y="112"/>
                </a:cubicBezTo>
                <a:cubicBezTo>
                  <a:pt x="49" y="125"/>
                  <a:pt x="49" y="125"/>
                  <a:pt x="49" y="125"/>
                </a:cubicBezTo>
                <a:cubicBezTo>
                  <a:pt x="43" y="125"/>
                  <a:pt x="43" y="125"/>
                  <a:pt x="43" y="125"/>
                </a:cubicBezTo>
                <a:cubicBezTo>
                  <a:pt x="43" y="190"/>
                  <a:pt x="43" y="190"/>
                  <a:pt x="43" y="190"/>
                </a:cubicBezTo>
                <a:cubicBezTo>
                  <a:pt x="69" y="190"/>
                  <a:pt x="69" y="190"/>
                  <a:pt x="69" y="190"/>
                </a:cubicBezTo>
                <a:cubicBezTo>
                  <a:pt x="69" y="125"/>
                  <a:pt x="69" y="125"/>
                  <a:pt x="69" y="125"/>
                </a:cubicBezTo>
                <a:cubicBezTo>
                  <a:pt x="63" y="125"/>
                  <a:pt x="63" y="125"/>
                  <a:pt x="63" y="125"/>
                </a:cubicBezTo>
                <a:cubicBezTo>
                  <a:pt x="63" y="112"/>
                  <a:pt x="63" y="112"/>
                  <a:pt x="63" y="112"/>
                </a:cubicBezTo>
                <a:cubicBezTo>
                  <a:pt x="91" y="109"/>
                  <a:pt x="112" y="85"/>
                  <a:pt x="112" y="56"/>
                </a:cubicBezTo>
                <a:close/>
                <a:moveTo>
                  <a:pt x="21" y="56"/>
                </a:moveTo>
                <a:cubicBezTo>
                  <a:pt x="21" y="37"/>
                  <a:pt x="37" y="21"/>
                  <a:pt x="56" y="21"/>
                </a:cubicBezTo>
                <a:cubicBezTo>
                  <a:pt x="76" y="21"/>
                  <a:pt x="92" y="37"/>
                  <a:pt x="92" y="56"/>
                </a:cubicBezTo>
                <a:cubicBezTo>
                  <a:pt x="92" y="76"/>
                  <a:pt x="76" y="92"/>
                  <a:pt x="56" y="92"/>
                </a:cubicBezTo>
                <a:cubicBezTo>
                  <a:pt x="37" y="92"/>
                  <a:pt x="21" y="76"/>
                  <a:pt x="21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2531" tIns="46266" rIns="92531" bIns="4626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17F476DC-4D12-4A19-AAEB-7D94278C9C18}"/>
              </a:ext>
            </a:extLst>
          </p:cNvPr>
          <p:cNvSpPr txBox="1"/>
          <p:nvPr/>
        </p:nvSpPr>
        <p:spPr>
          <a:xfrm rot="1890962" flipH="1" flipV="1">
            <a:off x="7399008" y="3086737"/>
            <a:ext cx="1257767" cy="387747"/>
          </a:xfrm>
          <a:prstGeom prst="rect">
            <a:avLst/>
          </a:prstGeom>
          <a:noFill/>
        </p:spPr>
        <p:txBody>
          <a:bodyPr wrap="square" lIns="36429" tIns="36429" rIns="36429" bIns="36429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998" b="1" i="0" u="none" strike="noStrike" kern="1200" cap="none" spc="0" normalizeH="0" baseline="0" noProof="0">
              <a:ln>
                <a:noFill/>
              </a:ln>
              <a:solidFill>
                <a:srgbClr val="323232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0C3BDC5-FCE6-4DA2-A360-7016ACB1F581}"/>
              </a:ext>
            </a:extLst>
          </p:cNvPr>
          <p:cNvGrpSpPr/>
          <p:nvPr/>
        </p:nvGrpSpPr>
        <p:grpSpPr>
          <a:xfrm>
            <a:off x="2191805" y="1503404"/>
            <a:ext cx="3050411" cy="3078845"/>
            <a:chOff x="2197971" y="1559524"/>
            <a:chExt cx="3057324" cy="3029296"/>
          </a:xfrm>
        </p:grpSpPr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61BE89B7-678C-4E9F-916B-C32F15AE78AA}"/>
                </a:ext>
              </a:extLst>
            </p:cNvPr>
            <p:cNvSpPr txBox="1"/>
            <p:nvPr/>
          </p:nvSpPr>
          <p:spPr>
            <a:xfrm rot="1890962">
              <a:off x="3251185" y="2675110"/>
              <a:ext cx="1257767" cy="387747"/>
            </a:xfrm>
            <a:prstGeom prst="rect">
              <a:avLst/>
            </a:prstGeom>
            <a:noFill/>
          </p:spPr>
          <p:txBody>
            <a:bodyPr wrap="square" lIns="36429" tIns="36429" rIns="36429" bIns="36429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7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998" b="1" i="0" u="none" strike="noStrike" kern="1200" cap="none" spc="0" normalizeH="0" baseline="0" noProof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Freeform 30">
              <a:extLst>
                <a:ext uri="{FF2B5EF4-FFF2-40B4-BE49-F238E27FC236}">
                  <a16:creationId xmlns:a16="http://schemas.microsoft.com/office/drawing/2014/main" id="{955D5F7B-867B-4C58-9CF7-87BBBB624BD0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 rot="2781258">
              <a:off x="3087303" y="1568502"/>
              <a:ext cx="1326082" cy="1308125"/>
            </a:xfrm>
            <a:custGeom>
              <a:avLst/>
              <a:gdLst>
                <a:gd name="T0" fmla="*/ 668301856 w 309"/>
                <a:gd name="T1" fmla="*/ 1790512433 h 300"/>
                <a:gd name="T2" fmla="*/ 860260111 w 309"/>
                <a:gd name="T3" fmla="*/ 1157502897 h 300"/>
                <a:gd name="T4" fmla="*/ 1898261168 w 309"/>
                <a:gd name="T5" fmla="*/ 572723608 h 300"/>
                <a:gd name="T6" fmla="*/ 2147483647 w 309"/>
                <a:gd name="T7" fmla="*/ 277317587 h 300"/>
                <a:gd name="T8" fmla="*/ 1905369739 w 309"/>
                <a:gd name="T9" fmla="*/ 0 h 300"/>
                <a:gd name="T10" fmla="*/ 0 w 309"/>
                <a:gd name="T11" fmla="*/ 1754340477 h 300"/>
                <a:gd name="T12" fmla="*/ 0 w 309"/>
                <a:gd name="T13" fmla="*/ 1808598411 h 300"/>
                <a:gd name="T14" fmla="*/ 341259499 w 309"/>
                <a:gd name="T15" fmla="*/ 1549366879 h 300"/>
                <a:gd name="T16" fmla="*/ 668301856 w 309"/>
                <a:gd name="T17" fmla="*/ 1790512433 h 3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9"/>
                <a:gd name="T28" fmla="*/ 0 h 300"/>
                <a:gd name="T29" fmla="*/ 309 w 309"/>
                <a:gd name="T30" fmla="*/ 300 h 3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9" h="300">
                  <a:moveTo>
                    <a:pt x="94" y="297"/>
                  </a:moveTo>
                  <a:cubicBezTo>
                    <a:pt x="93" y="262"/>
                    <a:pt x="101" y="225"/>
                    <a:pt x="121" y="192"/>
                  </a:cubicBezTo>
                  <a:cubicBezTo>
                    <a:pt x="153" y="136"/>
                    <a:pt x="208" y="102"/>
                    <a:pt x="267" y="95"/>
                  </a:cubicBezTo>
                  <a:cubicBezTo>
                    <a:pt x="309" y="46"/>
                    <a:pt x="309" y="46"/>
                    <a:pt x="309" y="46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18" y="12"/>
                    <a:pt x="0" y="138"/>
                    <a:pt x="0" y="291"/>
                  </a:cubicBezTo>
                  <a:cubicBezTo>
                    <a:pt x="0" y="294"/>
                    <a:pt x="0" y="297"/>
                    <a:pt x="0" y="300"/>
                  </a:cubicBezTo>
                  <a:cubicBezTo>
                    <a:pt x="48" y="257"/>
                    <a:pt x="48" y="257"/>
                    <a:pt x="48" y="257"/>
                  </a:cubicBezTo>
                  <a:lnTo>
                    <a:pt x="94" y="297"/>
                  </a:lnTo>
                  <a:close/>
                </a:path>
              </a:pathLst>
            </a:custGeom>
            <a:solidFill>
              <a:srgbClr val="8FB4DB"/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srgbClr val="8FB4DB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Freeform 39">
              <a:extLst>
                <a:ext uri="{FF2B5EF4-FFF2-40B4-BE49-F238E27FC236}">
                  <a16:creationId xmlns:a16="http://schemas.microsoft.com/office/drawing/2014/main" id="{1E296C15-F537-4FDF-BC2F-1AB7FB74077F}"/>
                </a:ext>
              </a:extLst>
            </p:cNvPr>
            <p:cNvSpPr>
              <a:spLocks noEditPoints="1"/>
            </p:cNvSpPr>
            <p:nvPr/>
          </p:nvSpPr>
          <p:spPr bwMode="auto">
            <a:xfrm rot="21273012">
              <a:off x="2927931" y="2321893"/>
              <a:ext cx="161463" cy="275480"/>
            </a:xfrm>
            <a:custGeom>
              <a:avLst/>
              <a:gdLst>
                <a:gd name="T0" fmla="*/ 112 w 112"/>
                <a:gd name="T1" fmla="*/ 56 h 190"/>
                <a:gd name="T2" fmla="*/ 56 w 112"/>
                <a:gd name="T3" fmla="*/ 0 h 190"/>
                <a:gd name="T4" fmla="*/ 0 w 112"/>
                <a:gd name="T5" fmla="*/ 56 h 190"/>
                <a:gd name="T6" fmla="*/ 49 w 112"/>
                <a:gd name="T7" fmla="*/ 112 h 190"/>
                <a:gd name="T8" fmla="*/ 49 w 112"/>
                <a:gd name="T9" fmla="*/ 125 h 190"/>
                <a:gd name="T10" fmla="*/ 43 w 112"/>
                <a:gd name="T11" fmla="*/ 125 h 190"/>
                <a:gd name="T12" fmla="*/ 43 w 112"/>
                <a:gd name="T13" fmla="*/ 190 h 190"/>
                <a:gd name="T14" fmla="*/ 69 w 112"/>
                <a:gd name="T15" fmla="*/ 190 h 190"/>
                <a:gd name="T16" fmla="*/ 69 w 112"/>
                <a:gd name="T17" fmla="*/ 125 h 190"/>
                <a:gd name="T18" fmla="*/ 63 w 112"/>
                <a:gd name="T19" fmla="*/ 125 h 190"/>
                <a:gd name="T20" fmla="*/ 63 w 112"/>
                <a:gd name="T21" fmla="*/ 112 h 190"/>
                <a:gd name="T22" fmla="*/ 112 w 112"/>
                <a:gd name="T23" fmla="*/ 56 h 190"/>
                <a:gd name="T24" fmla="*/ 21 w 112"/>
                <a:gd name="T25" fmla="*/ 56 h 190"/>
                <a:gd name="T26" fmla="*/ 56 w 112"/>
                <a:gd name="T27" fmla="*/ 21 h 190"/>
                <a:gd name="T28" fmla="*/ 92 w 112"/>
                <a:gd name="T29" fmla="*/ 56 h 190"/>
                <a:gd name="T30" fmla="*/ 56 w 112"/>
                <a:gd name="T31" fmla="*/ 92 h 190"/>
                <a:gd name="T32" fmla="*/ 21 w 112"/>
                <a:gd name="T33" fmla="*/ 5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2" h="190">
                  <a:moveTo>
                    <a:pt x="112" y="56"/>
                  </a:moveTo>
                  <a:cubicBezTo>
                    <a:pt x="112" y="25"/>
                    <a:pt x="87" y="0"/>
                    <a:pt x="56" y="0"/>
                  </a:cubicBezTo>
                  <a:cubicBezTo>
                    <a:pt x="25" y="0"/>
                    <a:pt x="0" y="25"/>
                    <a:pt x="0" y="56"/>
                  </a:cubicBezTo>
                  <a:cubicBezTo>
                    <a:pt x="0" y="85"/>
                    <a:pt x="22" y="109"/>
                    <a:pt x="49" y="112"/>
                  </a:cubicBezTo>
                  <a:cubicBezTo>
                    <a:pt x="49" y="125"/>
                    <a:pt x="49" y="125"/>
                    <a:pt x="49" y="125"/>
                  </a:cubicBezTo>
                  <a:cubicBezTo>
                    <a:pt x="43" y="125"/>
                    <a:pt x="43" y="125"/>
                    <a:pt x="43" y="125"/>
                  </a:cubicBezTo>
                  <a:cubicBezTo>
                    <a:pt x="43" y="190"/>
                    <a:pt x="43" y="190"/>
                    <a:pt x="43" y="190"/>
                  </a:cubicBezTo>
                  <a:cubicBezTo>
                    <a:pt x="69" y="190"/>
                    <a:pt x="69" y="190"/>
                    <a:pt x="69" y="190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3" y="125"/>
                    <a:pt x="63" y="125"/>
                    <a:pt x="63" y="125"/>
                  </a:cubicBezTo>
                  <a:cubicBezTo>
                    <a:pt x="63" y="112"/>
                    <a:pt x="63" y="112"/>
                    <a:pt x="63" y="112"/>
                  </a:cubicBezTo>
                  <a:cubicBezTo>
                    <a:pt x="91" y="109"/>
                    <a:pt x="112" y="85"/>
                    <a:pt x="112" y="56"/>
                  </a:cubicBezTo>
                  <a:close/>
                  <a:moveTo>
                    <a:pt x="21" y="56"/>
                  </a:moveTo>
                  <a:cubicBezTo>
                    <a:pt x="21" y="37"/>
                    <a:pt x="37" y="21"/>
                    <a:pt x="56" y="21"/>
                  </a:cubicBezTo>
                  <a:cubicBezTo>
                    <a:pt x="76" y="21"/>
                    <a:pt x="92" y="37"/>
                    <a:pt x="92" y="56"/>
                  </a:cubicBezTo>
                  <a:cubicBezTo>
                    <a:pt x="92" y="76"/>
                    <a:pt x="76" y="92"/>
                    <a:pt x="56" y="92"/>
                  </a:cubicBezTo>
                  <a:cubicBezTo>
                    <a:pt x="37" y="92"/>
                    <a:pt x="21" y="76"/>
                    <a:pt x="21" y="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2531" tIns="46266" rIns="92531" bIns="462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56" name="Freeform 29">
              <a:extLst>
                <a:ext uri="{FF2B5EF4-FFF2-40B4-BE49-F238E27FC236}">
                  <a16:creationId xmlns:a16="http://schemas.microsoft.com/office/drawing/2014/main" id="{5F4DB87A-F18A-47B9-9E4D-6BA83F729920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 rot="13569486">
              <a:off x="3936339" y="2430327"/>
              <a:ext cx="1290313" cy="1347598"/>
            </a:xfrm>
            <a:custGeom>
              <a:avLst/>
              <a:gdLst>
                <a:gd name="T0" fmla="*/ 2121034554 w 301"/>
                <a:gd name="T1" fmla="*/ 1296596275 h 309"/>
                <a:gd name="T2" fmla="*/ 1362002072 w 301"/>
                <a:gd name="T3" fmla="*/ 1133767904 h 309"/>
                <a:gd name="T4" fmla="*/ 673907041 w 301"/>
                <a:gd name="T5" fmla="*/ 247259053 h 309"/>
                <a:gd name="T6" fmla="*/ 333405857 w 301"/>
                <a:gd name="T7" fmla="*/ 0 h 309"/>
                <a:gd name="T8" fmla="*/ 0 w 301"/>
                <a:gd name="T9" fmla="*/ 253287903 h 309"/>
                <a:gd name="T10" fmla="*/ 2064285259 w 301"/>
                <a:gd name="T11" fmla="*/ 1863480074 h 309"/>
                <a:gd name="T12" fmla="*/ 2135222544 w 301"/>
                <a:gd name="T13" fmla="*/ 1863480074 h 309"/>
                <a:gd name="T14" fmla="*/ 1830190086 w 301"/>
                <a:gd name="T15" fmla="*/ 1574006869 h 309"/>
                <a:gd name="T16" fmla="*/ 2121034554 w 301"/>
                <a:gd name="T17" fmla="*/ 1296596275 h 30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1"/>
                <a:gd name="T28" fmla="*/ 0 h 309"/>
                <a:gd name="T29" fmla="*/ 301 w 301"/>
                <a:gd name="T30" fmla="*/ 309 h 30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1" h="309">
                  <a:moveTo>
                    <a:pt x="299" y="215"/>
                  </a:moveTo>
                  <a:cubicBezTo>
                    <a:pt x="263" y="216"/>
                    <a:pt x="226" y="208"/>
                    <a:pt x="192" y="188"/>
                  </a:cubicBezTo>
                  <a:cubicBezTo>
                    <a:pt x="136" y="156"/>
                    <a:pt x="102" y="101"/>
                    <a:pt x="95" y="4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13" y="191"/>
                    <a:pt x="138" y="309"/>
                    <a:pt x="291" y="309"/>
                  </a:cubicBezTo>
                  <a:cubicBezTo>
                    <a:pt x="295" y="309"/>
                    <a:pt x="298" y="309"/>
                    <a:pt x="301" y="309"/>
                  </a:cubicBezTo>
                  <a:cubicBezTo>
                    <a:pt x="258" y="261"/>
                    <a:pt x="258" y="261"/>
                    <a:pt x="258" y="261"/>
                  </a:cubicBezTo>
                  <a:lnTo>
                    <a:pt x="299" y="215"/>
                  </a:lnTo>
                  <a:close/>
                </a:path>
              </a:pathLst>
            </a:custGeom>
            <a:solidFill>
              <a:srgbClr val="76A4D3"/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" name="Freeform 30">
              <a:extLst>
                <a:ext uri="{FF2B5EF4-FFF2-40B4-BE49-F238E27FC236}">
                  <a16:creationId xmlns:a16="http://schemas.microsoft.com/office/drawing/2014/main" id="{9A95882B-666C-45AE-B0B3-5994B6C497FB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 rot="18981258">
              <a:off x="2197971" y="2406783"/>
              <a:ext cx="1337167" cy="1297283"/>
            </a:xfrm>
            <a:custGeom>
              <a:avLst/>
              <a:gdLst>
                <a:gd name="T0" fmla="*/ 668301856 w 309"/>
                <a:gd name="T1" fmla="*/ 1790512433 h 300"/>
                <a:gd name="T2" fmla="*/ 860260111 w 309"/>
                <a:gd name="T3" fmla="*/ 1157502897 h 300"/>
                <a:gd name="T4" fmla="*/ 1898261168 w 309"/>
                <a:gd name="T5" fmla="*/ 572723608 h 300"/>
                <a:gd name="T6" fmla="*/ 2147483647 w 309"/>
                <a:gd name="T7" fmla="*/ 277317587 h 300"/>
                <a:gd name="T8" fmla="*/ 1905369739 w 309"/>
                <a:gd name="T9" fmla="*/ 0 h 300"/>
                <a:gd name="T10" fmla="*/ 0 w 309"/>
                <a:gd name="T11" fmla="*/ 1754340477 h 300"/>
                <a:gd name="T12" fmla="*/ 0 w 309"/>
                <a:gd name="T13" fmla="*/ 1808598411 h 300"/>
                <a:gd name="T14" fmla="*/ 341259499 w 309"/>
                <a:gd name="T15" fmla="*/ 1549366879 h 300"/>
                <a:gd name="T16" fmla="*/ 668301856 w 309"/>
                <a:gd name="T17" fmla="*/ 1790512433 h 3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9"/>
                <a:gd name="T28" fmla="*/ 0 h 300"/>
                <a:gd name="T29" fmla="*/ 309 w 309"/>
                <a:gd name="T30" fmla="*/ 300 h 3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9" h="300">
                  <a:moveTo>
                    <a:pt x="94" y="297"/>
                  </a:moveTo>
                  <a:cubicBezTo>
                    <a:pt x="93" y="262"/>
                    <a:pt x="101" y="225"/>
                    <a:pt x="121" y="192"/>
                  </a:cubicBezTo>
                  <a:cubicBezTo>
                    <a:pt x="153" y="136"/>
                    <a:pt x="208" y="102"/>
                    <a:pt x="267" y="95"/>
                  </a:cubicBezTo>
                  <a:cubicBezTo>
                    <a:pt x="309" y="46"/>
                    <a:pt x="309" y="46"/>
                    <a:pt x="309" y="46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18" y="12"/>
                    <a:pt x="0" y="138"/>
                    <a:pt x="0" y="291"/>
                  </a:cubicBezTo>
                  <a:cubicBezTo>
                    <a:pt x="0" y="294"/>
                    <a:pt x="0" y="297"/>
                    <a:pt x="0" y="300"/>
                  </a:cubicBezTo>
                  <a:cubicBezTo>
                    <a:pt x="48" y="257"/>
                    <a:pt x="48" y="257"/>
                    <a:pt x="48" y="257"/>
                  </a:cubicBezTo>
                  <a:lnTo>
                    <a:pt x="94" y="297"/>
                  </a:lnTo>
                  <a:close/>
                </a:path>
              </a:pathLst>
            </a:custGeom>
            <a:solidFill>
              <a:srgbClr val="3F7FC2"/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" name="Freeform 30">
              <a:extLst>
                <a:ext uri="{FF2B5EF4-FFF2-40B4-BE49-F238E27FC236}">
                  <a16:creationId xmlns:a16="http://schemas.microsoft.com/office/drawing/2014/main" id="{8BEA7C38-4C48-44CB-8F5A-BD8B83CAC00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 rot="13581258">
              <a:off x="3023251" y="3271716"/>
              <a:ext cx="1326082" cy="1308125"/>
            </a:xfrm>
            <a:custGeom>
              <a:avLst/>
              <a:gdLst>
                <a:gd name="T0" fmla="*/ 668301856 w 309"/>
                <a:gd name="T1" fmla="*/ 1790512433 h 300"/>
                <a:gd name="T2" fmla="*/ 860260111 w 309"/>
                <a:gd name="T3" fmla="*/ 1157502897 h 300"/>
                <a:gd name="T4" fmla="*/ 1898261168 w 309"/>
                <a:gd name="T5" fmla="*/ 572723608 h 300"/>
                <a:gd name="T6" fmla="*/ 2147483647 w 309"/>
                <a:gd name="T7" fmla="*/ 277317587 h 300"/>
                <a:gd name="T8" fmla="*/ 1905369739 w 309"/>
                <a:gd name="T9" fmla="*/ 0 h 300"/>
                <a:gd name="T10" fmla="*/ 0 w 309"/>
                <a:gd name="T11" fmla="*/ 1754340477 h 300"/>
                <a:gd name="T12" fmla="*/ 0 w 309"/>
                <a:gd name="T13" fmla="*/ 1808598411 h 300"/>
                <a:gd name="T14" fmla="*/ 341259499 w 309"/>
                <a:gd name="T15" fmla="*/ 1549366879 h 300"/>
                <a:gd name="T16" fmla="*/ 668301856 w 309"/>
                <a:gd name="T17" fmla="*/ 1790512433 h 3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9"/>
                <a:gd name="T28" fmla="*/ 0 h 300"/>
                <a:gd name="T29" fmla="*/ 309 w 309"/>
                <a:gd name="T30" fmla="*/ 300 h 3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9" h="300">
                  <a:moveTo>
                    <a:pt x="94" y="297"/>
                  </a:moveTo>
                  <a:cubicBezTo>
                    <a:pt x="93" y="262"/>
                    <a:pt x="101" y="225"/>
                    <a:pt x="121" y="192"/>
                  </a:cubicBezTo>
                  <a:cubicBezTo>
                    <a:pt x="153" y="136"/>
                    <a:pt x="208" y="102"/>
                    <a:pt x="267" y="95"/>
                  </a:cubicBezTo>
                  <a:cubicBezTo>
                    <a:pt x="309" y="46"/>
                    <a:pt x="309" y="46"/>
                    <a:pt x="309" y="46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18" y="12"/>
                    <a:pt x="0" y="138"/>
                    <a:pt x="0" y="291"/>
                  </a:cubicBezTo>
                  <a:cubicBezTo>
                    <a:pt x="0" y="294"/>
                    <a:pt x="0" y="297"/>
                    <a:pt x="0" y="300"/>
                  </a:cubicBezTo>
                  <a:cubicBezTo>
                    <a:pt x="48" y="257"/>
                    <a:pt x="48" y="257"/>
                    <a:pt x="48" y="257"/>
                  </a:cubicBezTo>
                  <a:lnTo>
                    <a:pt x="94" y="297"/>
                  </a:lnTo>
                  <a:close/>
                </a:path>
              </a:pathLst>
            </a:custGeom>
            <a:solidFill>
              <a:srgbClr val="76A4D3"/>
            </a:solidFill>
            <a:ln w="3175" cap="flat" cmpd="sng">
              <a:solidFill>
                <a:srgbClr val="72A1D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89BFC5C4-31B9-4568-97F2-CAD526631C5D}"/>
                </a:ext>
              </a:extLst>
            </p:cNvPr>
            <p:cNvSpPr txBox="1"/>
            <p:nvPr/>
          </p:nvSpPr>
          <p:spPr>
            <a:xfrm>
              <a:off x="3030700" y="2909001"/>
              <a:ext cx="1372622" cy="350568"/>
            </a:xfrm>
            <a:prstGeom prst="rect">
              <a:avLst/>
            </a:prstGeom>
            <a:noFill/>
          </p:spPr>
          <p:txBody>
            <a:bodyPr wrap="square" lIns="36429" tIns="36429" rIns="36429" bIns="36429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7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78D4">
                      <a:lumMod val="75000"/>
                    </a:srgbClr>
                  </a:solidFill>
                  <a:effectLst/>
                  <a:uLnTx/>
                  <a:uFillTx/>
                  <a:latin typeface="Segoe UI Semibold"/>
                  <a:ea typeface="+mn-ea"/>
                  <a:cs typeface="Arial" panose="020B0604020202020204" pitchFamily="34" charset="0"/>
                </a:rPr>
                <a:t>Experiment</a:t>
              </a: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DD8FD33D-25DF-4335-9E8E-3C90AD6635A0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576140" y="1726670"/>
            <a:ext cx="4585160" cy="2632314"/>
          </a:xfrm>
          <a:prstGeom prst="rect">
            <a:avLst/>
          </a:prstGeom>
        </p:spPr>
      </p:pic>
      <p:sp>
        <p:nvSpPr>
          <p:cNvPr id="20" name="TextBox 8">
            <a:extLst>
              <a:ext uri="{FF2B5EF4-FFF2-40B4-BE49-F238E27FC236}">
                <a16:creationId xmlns:a16="http://schemas.microsoft.com/office/drawing/2014/main" id="{3ADA5403-A569-4263-9073-B93C7AF731CF}"/>
              </a:ext>
            </a:extLst>
          </p:cNvPr>
          <p:cNvSpPr txBox="1"/>
          <p:nvPr/>
        </p:nvSpPr>
        <p:spPr>
          <a:xfrm>
            <a:off x="4897463" y="5278629"/>
            <a:ext cx="3130428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457183" marR="0" lvl="1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	   + Testing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Continuous Integration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Continuous Deployment</a:t>
            </a:r>
          </a:p>
        </p:txBody>
      </p:sp>
    </p:spTree>
    <p:extLst>
      <p:ext uri="{BB962C8B-B14F-4D97-AF65-F5344CB8AC3E}">
        <p14:creationId xmlns:p14="http://schemas.microsoft.com/office/powerpoint/2010/main" val="29950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2" grpId="0"/>
      <p:bldP spid="2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32178C4-DDA1-43B2-9715-0D5A5B3CCE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6424" y="1488414"/>
            <a:ext cx="3657600" cy="984885"/>
          </a:xfrm>
        </p:spPr>
        <p:txBody>
          <a:bodyPr anchor="ctr"/>
          <a:lstStyle/>
          <a:p>
            <a:pPr algn="ctr"/>
            <a:r>
              <a:rPr lang="en-US" sz="3200">
                <a:solidFill>
                  <a:schemeClr val="tx1"/>
                </a:solidFill>
              </a:rPr>
              <a:t>Reproducibility / Auditability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B2C126-06EC-44EC-9968-DE940EDD1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MLOps Benefi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8C2047-F2BB-4C14-ADD5-759E26D63E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81361" y="1432216"/>
            <a:ext cx="3657600" cy="1097280"/>
          </a:xfrm>
        </p:spPr>
        <p:txBody>
          <a:bodyPr anchor="ctr"/>
          <a:lstStyle/>
          <a:p>
            <a:pPr algn="ctr"/>
            <a:r>
              <a:rPr lang="en-US" sz="3200" b="0"/>
              <a:t>Validation</a:t>
            </a:r>
            <a:endParaRPr lang="en-US" sz="1200" b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D29B5CF-8D31-4F56-B49F-9759DABEB0E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26963" y="1488412"/>
            <a:ext cx="3657600" cy="984885"/>
          </a:xfrm>
        </p:spPr>
        <p:txBody>
          <a:bodyPr anchor="ctr"/>
          <a:lstStyle/>
          <a:p>
            <a:pPr algn="ctr"/>
            <a:r>
              <a:rPr lang="en-US" sz="3200" b="0"/>
              <a:t>Automation / Observabil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325F5EB-4A0B-48EE-8AB9-0E43B85B4188}"/>
              </a:ext>
            </a:extLst>
          </p:cNvPr>
          <p:cNvSpPr/>
          <p:nvPr/>
        </p:nvSpPr>
        <p:spPr>
          <a:xfrm>
            <a:off x="743541" y="2804342"/>
            <a:ext cx="323752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Segoe UI Semilight" panose="020B0402040204020203" pitchFamily="34" charset="0"/>
                <a:cs typeface="Segoe UI Semilight" panose="020B0402040204020203" pitchFamily="34" charset="0"/>
              </a:rPr>
              <a:t>Code drives </a:t>
            </a:r>
            <a:r>
              <a:rPr lang="en-US" sz="2000" b="1">
                <a:latin typeface="Segoe UI Semilight" panose="020B0402040204020203" pitchFamily="34" charset="0"/>
                <a:cs typeface="Segoe UI Semilight" panose="020B0402040204020203" pitchFamily="34" charset="0"/>
              </a:rPr>
              <a:t>generation</a:t>
            </a:r>
            <a:r>
              <a:rPr lang="en-US" sz="2000">
                <a:latin typeface="Segoe UI Semilight" panose="020B0402040204020203" pitchFamily="34" charset="0"/>
                <a:cs typeface="Segoe UI Semilight" panose="020B0402040204020203" pitchFamily="34" charset="0"/>
              </a:rPr>
              <a:t> and </a:t>
            </a:r>
            <a:r>
              <a:rPr lang="en-US" sz="2000" b="1">
                <a:latin typeface="Segoe UI Semilight" panose="020B0402040204020203" pitchFamily="34" charset="0"/>
                <a:cs typeface="Segoe UI Semilight" panose="020B0402040204020203" pitchFamily="34" charset="0"/>
              </a:rPr>
              <a:t>deploy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Segoe UI Semilight" panose="020B0402040204020203" pitchFamily="34" charset="0"/>
                <a:cs typeface="Segoe UI Semilight" panose="020B0402040204020203" pitchFamily="34" charset="0"/>
              </a:rPr>
              <a:t>Pipelines are </a:t>
            </a:r>
            <a:r>
              <a:rPr lang="en-US" sz="2000" b="1">
                <a:latin typeface="Segoe UI Semilight" panose="020B0402040204020203" pitchFamily="34" charset="0"/>
                <a:cs typeface="Segoe UI Semilight" panose="020B0402040204020203" pitchFamily="34" charset="0"/>
              </a:rPr>
              <a:t>reproducible</a:t>
            </a:r>
            <a:r>
              <a:rPr lang="en-US" sz="2000">
                <a:latin typeface="Segoe UI Semilight" panose="020B0402040204020203" pitchFamily="34" charset="0"/>
                <a:cs typeface="Segoe UI Semilight" panose="020B0402040204020203" pitchFamily="34" charset="0"/>
              </a:rPr>
              <a:t> and </a:t>
            </a:r>
            <a:r>
              <a:rPr lang="en-US" sz="2000" b="1">
                <a:latin typeface="Segoe UI Semilight" panose="020B0402040204020203" pitchFamily="34" charset="0"/>
                <a:cs typeface="Segoe UI Semilight" panose="020B0402040204020203" pitchFamily="34" charset="0"/>
              </a:rPr>
              <a:t>verifia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Segoe UI Semilight" panose="020B0402040204020203" pitchFamily="34" charset="0"/>
                <a:cs typeface="Segoe UI Semilight" panose="020B0402040204020203" pitchFamily="34" charset="0"/>
              </a:rPr>
              <a:t>All artifacts can be </a:t>
            </a:r>
            <a:r>
              <a:rPr lang="en-US" sz="2000" b="1">
                <a:latin typeface="Segoe UI Semilight" panose="020B0402040204020203" pitchFamily="34" charset="0"/>
                <a:cs typeface="Segoe UI Semilight" panose="020B0402040204020203" pitchFamily="34" charset="0"/>
              </a:rPr>
              <a:t>tagged</a:t>
            </a:r>
            <a:r>
              <a:rPr lang="en-US" sz="2000">
                <a:latin typeface="Segoe UI Semilight" panose="020B0402040204020203" pitchFamily="34" charset="0"/>
                <a:cs typeface="Segoe UI Semilight" panose="020B0402040204020203" pitchFamily="34" charset="0"/>
              </a:rPr>
              <a:t> and </a:t>
            </a:r>
            <a:r>
              <a:rPr lang="en-US" sz="2000" b="1">
                <a:latin typeface="Segoe UI Semilight" panose="020B0402040204020203" pitchFamily="34" charset="0"/>
                <a:cs typeface="Segoe UI Semilight" panose="020B0402040204020203" pitchFamily="34" charset="0"/>
              </a:rPr>
              <a:t>audited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A19326-7E92-4133-B5D7-667FAFD969BC}"/>
              </a:ext>
            </a:extLst>
          </p:cNvPr>
          <p:cNvSpPr/>
          <p:nvPr/>
        </p:nvSpPr>
        <p:spPr>
          <a:xfrm>
            <a:off x="4722940" y="2792050"/>
            <a:ext cx="319300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Segoe UI Semilight" panose="020B0402040204020203" pitchFamily="34" charset="0"/>
                <a:cs typeface="Segoe UI Semilight" panose="020B0402040204020203" pitchFamily="34" charset="0"/>
              </a:rPr>
              <a:t>SWE best practices for quality contr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Segoe UI Semilight" panose="020B0402040204020203" pitchFamily="34" charset="0"/>
                <a:cs typeface="Segoe UI Semilight" panose="020B0402040204020203" pitchFamily="34" charset="0"/>
              </a:rPr>
              <a:t>Offline comparisons of model </a:t>
            </a:r>
            <a:r>
              <a:rPr lang="en-US" sz="2000" b="1">
                <a:latin typeface="Segoe UI Semilight" panose="020B0402040204020203" pitchFamily="34" charset="0"/>
                <a:cs typeface="Segoe UI Semilight" panose="020B0402040204020203" pitchFamily="34" charset="0"/>
              </a:rPr>
              <a:t>qua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Segoe UI Semilight" panose="020B0402040204020203" pitchFamily="34" charset="0"/>
                <a:cs typeface="Segoe UI Semilight" panose="020B0402040204020203" pitchFamily="34" charset="0"/>
              </a:rPr>
              <a:t>Minimize </a:t>
            </a:r>
            <a:r>
              <a:rPr lang="en-US" sz="2000" b="1">
                <a:latin typeface="Segoe UI Semilight" panose="020B0402040204020203" pitchFamily="34" charset="0"/>
                <a:cs typeface="Segoe UI Semilight" panose="020B0402040204020203" pitchFamily="34" charset="0"/>
              </a:rPr>
              <a:t>bias</a:t>
            </a:r>
            <a:r>
              <a:rPr lang="en-US" sz="2000">
                <a:latin typeface="Segoe UI Semilight" panose="020B0402040204020203" pitchFamily="34" charset="0"/>
                <a:cs typeface="Segoe UI Semilight" panose="020B0402040204020203" pitchFamily="34" charset="0"/>
              </a:rPr>
              <a:t> and enable </a:t>
            </a:r>
            <a:r>
              <a:rPr lang="en-US" sz="2000" b="1" err="1">
                <a:latin typeface="Segoe UI Semilight" panose="020B0402040204020203" pitchFamily="34" charset="0"/>
                <a:cs typeface="Segoe UI Semilight" panose="020B0402040204020203" pitchFamily="34" charset="0"/>
              </a:rPr>
              <a:t>explainability</a:t>
            </a:r>
            <a:endParaRPr lang="en-US" sz="2000" b="1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585B674-8C7F-41A9-9F5A-03DBA7965916}"/>
              </a:ext>
            </a:extLst>
          </p:cNvPr>
          <p:cNvSpPr/>
          <p:nvPr/>
        </p:nvSpPr>
        <p:spPr>
          <a:xfrm>
            <a:off x="8591563" y="2820185"/>
            <a:ext cx="3193000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Segoe UI Semilight" panose="020B0402040204020203" pitchFamily="34" charset="0"/>
                <a:cs typeface="Segoe UI Semilight" panose="020B0402040204020203" pitchFamily="34" charset="0"/>
              </a:rPr>
              <a:t>Controlled rollout capabiliti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Segoe UI Semilight" panose="020B0402040204020203" pitchFamily="34" charset="0"/>
                <a:cs typeface="Segoe UI Semilight" panose="020B0402040204020203" pitchFamily="34" charset="0"/>
              </a:rPr>
              <a:t>Live comparison of predicted vs. expected perform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Segoe UI Semilight" panose="020B0402040204020203" pitchFamily="34" charset="0"/>
                <a:cs typeface="Segoe UI Semilight" panose="020B0402040204020203" pitchFamily="34" charset="0"/>
              </a:rPr>
              <a:t>Results fed back to watch for drift and improve mod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2B6941E-51C3-494E-B193-F3E9C555D718}"/>
              </a:ext>
            </a:extLst>
          </p:cNvPr>
          <p:cNvCxnSpPr>
            <a:cxnSpLocks/>
          </p:cNvCxnSpPr>
          <p:nvPr/>
        </p:nvCxnSpPr>
        <p:spPr>
          <a:xfrm>
            <a:off x="743540" y="2626003"/>
            <a:ext cx="2834640" cy="0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  <a:headEnd type="none" w="lg" len="med"/>
            <a:tailEnd type="none" w="lg" len="med"/>
          </a:ln>
          <a:effectLst>
            <a:softEdge rad="1270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B5A1835-C3EE-43E0-B8EE-6D6E7E21052D}"/>
              </a:ext>
            </a:extLst>
          </p:cNvPr>
          <p:cNvCxnSpPr>
            <a:cxnSpLocks/>
          </p:cNvCxnSpPr>
          <p:nvPr/>
        </p:nvCxnSpPr>
        <p:spPr>
          <a:xfrm>
            <a:off x="4722940" y="2626003"/>
            <a:ext cx="2834640" cy="0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  <a:headEnd type="none" w="lg" len="med"/>
            <a:tailEnd type="none" w="lg" len="med"/>
          </a:ln>
          <a:effectLst>
            <a:softEdge rad="1270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C47FDF2-E230-4E86-B812-CB388A532FA8}"/>
              </a:ext>
            </a:extLst>
          </p:cNvPr>
          <p:cNvCxnSpPr>
            <a:cxnSpLocks/>
          </p:cNvCxnSpPr>
          <p:nvPr/>
        </p:nvCxnSpPr>
        <p:spPr>
          <a:xfrm>
            <a:off x="8591563" y="2626003"/>
            <a:ext cx="2834640" cy="0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  <a:headEnd type="none" w="lg" len="med"/>
            <a:tailEnd type="none" w="lg" len="med"/>
          </a:ln>
          <a:effectLst>
            <a:softEdge rad="1270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0208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 xmlns:a16="http://schemas.microsoft.com/office/drawing/2014/main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1A84FE-4D8F-A348-BB23-23CB7F69D8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" y="365125"/>
            <a:ext cx="5120114" cy="169279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lnSpc>
                <a:spcPct val="90000"/>
              </a:lnSpc>
            </a:pPr>
            <a:r>
              <a:rPr lang="en-US" sz="4400">
                <a:solidFill>
                  <a:schemeClr val="tx1"/>
                </a:solidFill>
                <a:ea typeface="+mj-ea"/>
                <a:cs typeface="+mj-cs"/>
              </a:rPr>
              <a:t>Why adopt DevOps for AI?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687A2-2849-5245-9751-FA219341C17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8644" y="2471748"/>
            <a:ext cx="5517357" cy="4164774"/>
          </a:xfrm>
        </p:spPr>
        <p:txBody>
          <a:bodyPr vert="horz" lIns="91440" tIns="45720" rIns="91440" bIns="45720" rtlCol="0">
            <a:normAutofit fontScale="92500" lnSpcReduction="20000"/>
          </a:bodyPr>
          <a:lstStyle/>
          <a:p>
            <a:pPr marL="0" indent="0" defTabSz="914400">
              <a:lnSpc>
                <a:spcPct val="150000"/>
              </a:lnSpc>
              <a:buNone/>
            </a:pPr>
            <a:r>
              <a:rPr lang="en-US" sz="2400">
                <a:solidFill>
                  <a:schemeClr val="tx1"/>
                </a:solidFill>
                <a:latin typeface="+mn-lt"/>
                <a:cs typeface="+mn-cs"/>
              </a:rPr>
              <a:t>Manage pain points:</a:t>
            </a:r>
          </a:p>
          <a:p>
            <a:pPr lvl="1" defTabSz="9144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</a:rPr>
              <a:t>data scientists and software engineers</a:t>
            </a:r>
          </a:p>
          <a:p>
            <a:pPr lvl="1" defTabSz="9144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</a:rPr>
              <a:t>Scripts stored on one person's machine and process not repeatable</a:t>
            </a:r>
          </a:p>
          <a:p>
            <a:pPr lvl="1" defTabSz="9144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</a:rPr>
              <a:t>Model versioning based on names, hard to know where model is deployed</a:t>
            </a:r>
          </a:p>
          <a:p>
            <a:pPr lvl="1" defTabSz="9144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</a:rPr>
              <a:t>Accuracy of model is determined during training and might change over time because of the data drift</a:t>
            </a:r>
          </a:p>
          <a:p>
            <a:pPr lvl="1" defTabSz="9144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</a:rPr>
              <a:t>Determine the value of the trained model, decide if it should be deployed</a:t>
            </a:r>
          </a:p>
        </p:txBody>
      </p:sp>
      <p:pic>
        <p:nvPicPr>
          <p:cNvPr id="6" name="Picture 5" descr="A person with collar shirt&#10;&#10;Description automatically generated">
            <a:extLst>
              <a:ext uri="{FF2B5EF4-FFF2-40B4-BE49-F238E27FC236}">
                <a16:creationId xmlns:a16="http://schemas.microsoft.com/office/drawing/2014/main" id="{DA0C397D-F59B-4AB8-B68C-6BCEC783058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6812" r="25088" b="-1"/>
          <a:stretch/>
        </p:blipFill>
        <p:spPr>
          <a:xfrm>
            <a:off x="5878849" y="10"/>
            <a:ext cx="6313150" cy="6857987"/>
          </a:xfrm>
          <a:custGeom>
            <a:avLst/>
            <a:gdLst>
              <a:gd name="connsiteX0" fmla="*/ 65565 w 6313150"/>
              <a:gd name="connsiteY0" fmla="*/ 0 h 6857997"/>
              <a:gd name="connsiteX1" fmla="*/ 6313150 w 6313150"/>
              <a:gd name="connsiteY1" fmla="*/ 0 h 6857997"/>
              <a:gd name="connsiteX2" fmla="*/ 6313150 w 6313150"/>
              <a:gd name="connsiteY2" fmla="*/ 6857997 h 6857997"/>
              <a:gd name="connsiteX3" fmla="*/ 3293946 w 6313150"/>
              <a:gd name="connsiteY3" fmla="*/ 6857997 h 6857997"/>
              <a:gd name="connsiteX4" fmla="*/ 3235857 w 6313150"/>
              <a:gd name="connsiteY4" fmla="*/ 6823061 h 6857997"/>
              <a:gd name="connsiteX5" fmla="*/ 0 w 6313150"/>
              <a:gd name="connsiteY5" fmla="*/ 951803 h 6857997"/>
              <a:gd name="connsiteX6" fmla="*/ 31536 w 6313150"/>
              <a:gd name="connsiteY6" fmla="*/ 285771 h 685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13150" h="6857997">
                <a:moveTo>
                  <a:pt x="65565" y="0"/>
                </a:moveTo>
                <a:lnTo>
                  <a:pt x="6313150" y="0"/>
                </a:lnTo>
                <a:lnTo>
                  <a:pt x="6313150" y="6857997"/>
                </a:lnTo>
                <a:lnTo>
                  <a:pt x="3293946" y="6857997"/>
                </a:lnTo>
                <a:lnTo>
                  <a:pt x="3235857" y="6823061"/>
                </a:lnTo>
                <a:cubicBezTo>
                  <a:pt x="1291240" y="5592803"/>
                  <a:pt x="0" y="3423096"/>
                  <a:pt x="0" y="951803"/>
                </a:cubicBezTo>
                <a:cubicBezTo>
                  <a:pt x="0" y="727140"/>
                  <a:pt x="10673" y="504970"/>
                  <a:pt x="31536" y="285771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08497871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281937-9699-4984-836D-799CCC1CD4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chnical debt &amp; collateral in ML system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B9DFDB9-3516-4DCB-965A-56CC178CC1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71098"/>
            <a:ext cx="12192000" cy="431580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E51BD42-9CFD-4E41-9ED9-463EF180F02F}"/>
              </a:ext>
            </a:extLst>
          </p:cNvPr>
          <p:cNvSpPr txBox="1"/>
          <p:nvPr/>
        </p:nvSpPr>
        <p:spPr>
          <a:xfrm>
            <a:off x="588263" y="6100916"/>
            <a:ext cx="1037962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Hidden technical debt in Machine Learning systems</a:t>
            </a:r>
          </a:p>
        </p:txBody>
      </p:sp>
    </p:spTree>
    <p:extLst>
      <p:ext uri="{BB962C8B-B14F-4D97-AF65-F5344CB8AC3E}">
        <p14:creationId xmlns:p14="http://schemas.microsoft.com/office/powerpoint/2010/main" val="2243093819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EDF8B29-F0E6-4FB1-BC47-86F9B81D80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utting it all together…</a:t>
            </a:r>
          </a:p>
        </p:txBody>
      </p:sp>
    </p:spTree>
    <p:extLst>
      <p:ext uri="{BB962C8B-B14F-4D97-AF65-F5344CB8AC3E}">
        <p14:creationId xmlns:p14="http://schemas.microsoft.com/office/powerpoint/2010/main" val="1331635477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9" name="Picture 148">
            <a:extLst>
              <a:ext uri="{FF2B5EF4-FFF2-40B4-BE49-F238E27FC236}">
                <a16:creationId xmlns:a16="http://schemas.microsoft.com/office/drawing/2014/main" id="{2A6F82A3-36FB-4FB3-A4CC-F3E349B51E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5177" y="3158645"/>
            <a:ext cx="1828067" cy="8629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5245" y="1685886"/>
            <a:ext cx="542076" cy="54207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6713" y="4557373"/>
            <a:ext cx="780288" cy="78028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0918" y="985610"/>
            <a:ext cx="812741" cy="812741"/>
          </a:xfrm>
          <a:prstGeom prst="rect">
            <a:avLst/>
          </a:prstGeom>
        </p:spPr>
      </p:pic>
      <p:cxnSp>
        <p:nvCxnSpPr>
          <p:cNvPr id="10" name="Straight Arrow Connector 9"/>
          <p:cNvCxnSpPr>
            <a:cxnSpLocks/>
            <a:stCxn id="3" idx="3"/>
            <a:endCxn id="3076" idx="1"/>
          </p:cNvCxnSpPr>
          <p:nvPr/>
        </p:nvCxnSpPr>
        <p:spPr>
          <a:xfrm flipV="1">
            <a:off x="2707321" y="1956713"/>
            <a:ext cx="814606" cy="211"/>
          </a:xfrm>
          <a:prstGeom prst="straightConnector1">
            <a:avLst/>
          </a:prstGeom>
          <a:ln w="3810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93595" y="2143687"/>
            <a:ext cx="13105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/>
              <a:t>App Developer 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914873" y="1923334"/>
            <a:ext cx="19937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/>
              <a:t>Cloud Services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25407" y="1058545"/>
            <a:ext cx="676456" cy="676456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8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345" y="1350738"/>
            <a:ext cx="780288" cy="7802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4" name="TextBox 33"/>
          <p:cNvSpPr txBox="1"/>
          <p:nvPr/>
        </p:nvSpPr>
        <p:spPr>
          <a:xfrm>
            <a:off x="2209347" y="2209804"/>
            <a:ext cx="4283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/>
              <a:t>IDE</a:t>
            </a: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303" y="4527905"/>
            <a:ext cx="780288" cy="7802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6" name="TextBox 35"/>
          <p:cNvSpPr txBox="1"/>
          <p:nvPr/>
        </p:nvSpPr>
        <p:spPr>
          <a:xfrm>
            <a:off x="231968" y="5400487"/>
            <a:ext cx="117904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/>
              <a:t>Data Scientist</a:t>
            </a:r>
          </a:p>
        </p:txBody>
      </p:sp>
      <p:cxnSp>
        <p:nvCxnSpPr>
          <p:cNvPr id="40" name="Straight Arrow Connector 39"/>
          <p:cNvCxnSpPr/>
          <p:nvPr/>
        </p:nvCxnSpPr>
        <p:spPr>
          <a:xfrm flipV="1">
            <a:off x="1149979" y="5121515"/>
            <a:ext cx="858866" cy="9029"/>
          </a:xfrm>
          <a:prstGeom prst="straightConnector1">
            <a:avLst/>
          </a:prstGeom>
          <a:ln w="381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 flipV="1">
            <a:off x="1145324" y="1813459"/>
            <a:ext cx="858866" cy="10925"/>
          </a:xfrm>
          <a:prstGeom prst="straightConnector1">
            <a:avLst/>
          </a:prstGeom>
          <a:ln w="3810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Picture 7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3326" y="1881822"/>
            <a:ext cx="961244" cy="6373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8" name="TextBox 77"/>
          <p:cNvSpPr txBox="1"/>
          <p:nvPr/>
        </p:nvSpPr>
        <p:spPr>
          <a:xfrm>
            <a:off x="10367077" y="5089764"/>
            <a:ext cx="1519889" cy="41549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s-ES_tradnl" sz="1050"/>
              <a:t>[ { "</a:t>
            </a:r>
            <a:r>
              <a:rPr lang="es-ES_tradnl" sz="1050" err="1"/>
              <a:t>cat</a:t>
            </a:r>
            <a:r>
              <a:rPr lang="es-ES_tradnl" sz="1050"/>
              <a:t>":      0.99218,</a:t>
            </a:r>
            <a:endParaRPr lang="en-US" sz="1050"/>
          </a:p>
          <a:p>
            <a:r>
              <a:rPr lang="es-ES_tradnl" sz="1050"/>
              <a:t>     "</a:t>
            </a:r>
            <a:r>
              <a:rPr lang="es-ES_tradnl" sz="1050" err="1"/>
              <a:t>feline</a:t>
            </a:r>
            <a:r>
              <a:rPr lang="es-ES_tradnl" sz="1050"/>
              <a:t>": 0.81242 </a:t>
            </a:r>
            <a:r>
              <a:rPr lang="en-US" sz="1050"/>
              <a:t>}</a:t>
            </a:r>
            <a:r>
              <a:rPr lang="es-ES_tradnl" sz="1050"/>
              <a:t>]</a:t>
            </a:r>
            <a:endParaRPr lang="en-US" sz="105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74E59007-0805-4FAE-BEAD-02F0CB95DD5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6846" y="2430531"/>
            <a:ext cx="798257" cy="798257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441EFD27-AE6C-4B39-984D-9A3D4F08A7B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52462" y="1836253"/>
            <a:ext cx="1349396" cy="12737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2C4D09F-59CF-40D0-AB84-3DA438D92D3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803377" y="933604"/>
            <a:ext cx="681730" cy="68989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88256021-FF2E-4CBB-896E-AFCD58EA027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546951" y="5394526"/>
            <a:ext cx="590550" cy="571500"/>
          </a:xfrm>
          <a:prstGeom prst="rect">
            <a:avLst/>
          </a:prstGeom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55D9CE72-508B-4322-8BB8-C9CE5240C74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8434" y="4742406"/>
            <a:ext cx="542076" cy="542076"/>
          </a:xfrm>
          <a:prstGeom prst="rect">
            <a:avLst/>
          </a:prstGeom>
        </p:spPr>
      </p:pic>
      <p:pic>
        <p:nvPicPr>
          <p:cNvPr id="3076" name="Picture 4" descr="https://upload.wikimedia.org/wikipedia/commons/thumb/e/e0/Git-logo.svg/300px-Git-logo.svg.png">
            <a:extLst>
              <a:ext uri="{FF2B5EF4-FFF2-40B4-BE49-F238E27FC236}">
                <a16:creationId xmlns:a16="http://schemas.microsoft.com/office/drawing/2014/main" id="{831A4867-4B4F-41F5-819D-DE3AD5C64C0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343"/>
          <a:stretch/>
        </p:blipFill>
        <p:spPr bwMode="auto">
          <a:xfrm>
            <a:off x="3521927" y="1637504"/>
            <a:ext cx="668912" cy="638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E07B53B2-4FF4-4DEB-9DB3-0C625B8A9DF5}"/>
              </a:ext>
            </a:extLst>
          </p:cNvPr>
          <p:cNvSpPr txBox="1"/>
          <p:nvPr/>
        </p:nvSpPr>
        <p:spPr>
          <a:xfrm>
            <a:off x="2612933" y="6076070"/>
            <a:ext cx="4283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/>
              <a:t>IDE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1F7B921A-8AD5-478C-BD18-6EFE7CE7D201}"/>
              </a:ext>
            </a:extLst>
          </p:cNvPr>
          <p:cNvSpPr txBox="1"/>
          <p:nvPr/>
        </p:nvSpPr>
        <p:spPr>
          <a:xfrm>
            <a:off x="8018781" y="3249750"/>
            <a:ext cx="20481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/>
              <a:t>Apps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BBA2CE5F-D40C-49B7-9B31-925BAD910CB2}"/>
              </a:ext>
            </a:extLst>
          </p:cNvPr>
          <p:cNvSpPr txBox="1"/>
          <p:nvPr/>
        </p:nvSpPr>
        <p:spPr>
          <a:xfrm>
            <a:off x="7994206" y="4548338"/>
            <a:ext cx="20113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/>
              <a:t>Edge Devices</a:t>
            </a:r>
          </a:p>
        </p:txBody>
      </p:sp>
      <p:cxnSp>
        <p:nvCxnSpPr>
          <p:cNvPr id="3080" name="Straight Arrow Connector 3079">
            <a:extLst>
              <a:ext uri="{FF2B5EF4-FFF2-40B4-BE49-F238E27FC236}">
                <a16:creationId xmlns:a16="http://schemas.microsoft.com/office/drawing/2014/main" id="{F7EE46F2-E7C3-425B-B2EE-657F07F8A3A5}"/>
              </a:ext>
            </a:extLst>
          </p:cNvPr>
          <p:cNvCxnSpPr>
            <a:cxnSpLocks/>
            <a:stCxn id="75" idx="2"/>
            <a:endCxn id="216" idx="0"/>
          </p:cNvCxnSpPr>
          <p:nvPr/>
        </p:nvCxnSpPr>
        <p:spPr>
          <a:xfrm flipH="1">
            <a:off x="11148127" y="2519169"/>
            <a:ext cx="5821" cy="75801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82" name="Straight Arrow Connector 3081">
            <a:extLst>
              <a:ext uri="{FF2B5EF4-FFF2-40B4-BE49-F238E27FC236}">
                <a16:creationId xmlns:a16="http://schemas.microsoft.com/office/drawing/2014/main" id="{E3F9E556-D9BC-45B5-A686-611B21BBF79D}"/>
              </a:ext>
            </a:extLst>
          </p:cNvPr>
          <p:cNvCxnSpPr>
            <a:cxnSpLocks/>
            <a:stCxn id="216" idx="2"/>
            <a:endCxn id="78" idx="0"/>
          </p:cNvCxnSpPr>
          <p:nvPr/>
        </p:nvCxnSpPr>
        <p:spPr>
          <a:xfrm flipH="1">
            <a:off x="11127022" y="4241414"/>
            <a:ext cx="21105" cy="84835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89" name="Connector: Elbow 3088">
            <a:extLst>
              <a:ext uri="{FF2B5EF4-FFF2-40B4-BE49-F238E27FC236}">
                <a16:creationId xmlns:a16="http://schemas.microsoft.com/office/drawing/2014/main" id="{CA7B50CE-8AFD-42D3-B561-BCE07C8A7FE3}"/>
              </a:ext>
            </a:extLst>
          </p:cNvPr>
          <p:cNvCxnSpPr>
            <a:cxnSpLocks/>
            <a:stCxn id="216" idx="1"/>
            <a:endCxn id="21" idx="3"/>
          </p:cNvCxnSpPr>
          <p:nvPr/>
        </p:nvCxnSpPr>
        <p:spPr>
          <a:xfrm rot="10800000">
            <a:off x="10001864" y="1396773"/>
            <a:ext cx="538921" cy="2362524"/>
          </a:xfrm>
          <a:prstGeom prst="bentConnector3">
            <a:avLst>
              <a:gd name="adj1" fmla="val 53535"/>
            </a:avLst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Connector: Elbow 157">
            <a:extLst>
              <a:ext uri="{FF2B5EF4-FFF2-40B4-BE49-F238E27FC236}">
                <a16:creationId xmlns:a16="http://schemas.microsoft.com/office/drawing/2014/main" id="{F411F516-5B55-411D-9765-5C694315644E}"/>
              </a:ext>
            </a:extLst>
          </p:cNvPr>
          <p:cNvCxnSpPr>
            <a:cxnSpLocks/>
            <a:stCxn id="216" idx="1"/>
            <a:endCxn id="26" idx="3"/>
          </p:cNvCxnSpPr>
          <p:nvPr/>
        </p:nvCxnSpPr>
        <p:spPr>
          <a:xfrm rot="10800000">
            <a:off x="9925104" y="2829661"/>
            <a:ext cx="615681" cy="929637"/>
          </a:xfrm>
          <a:prstGeom prst="bentConnector3">
            <a:avLst>
              <a:gd name="adj1" fmla="val 45240"/>
            </a:avLst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Connector: Elbow 160">
            <a:extLst>
              <a:ext uri="{FF2B5EF4-FFF2-40B4-BE49-F238E27FC236}">
                <a16:creationId xmlns:a16="http://schemas.microsoft.com/office/drawing/2014/main" id="{0D5A3ED2-7DFD-49A7-9B14-20A87B024418}"/>
              </a:ext>
            </a:extLst>
          </p:cNvPr>
          <p:cNvCxnSpPr>
            <a:cxnSpLocks/>
            <a:stCxn id="216" idx="1"/>
            <a:endCxn id="3102" idx="3"/>
          </p:cNvCxnSpPr>
          <p:nvPr/>
        </p:nvCxnSpPr>
        <p:spPr>
          <a:xfrm rot="10800000" flipV="1">
            <a:off x="9911884" y="3759297"/>
            <a:ext cx="628901" cy="373942"/>
          </a:xfrm>
          <a:prstGeom prst="bentConnector3">
            <a:avLst>
              <a:gd name="adj1" fmla="val 44408"/>
            </a:avLst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02" name="Picture 10" descr="See the source image">
            <a:extLst>
              <a:ext uri="{FF2B5EF4-FFF2-40B4-BE49-F238E27FC236}">
                <a16:creationId xmlns:a16="http://schemas.microsoft.com/office/drawing/2014/main" id="{EF48C846-5427-4361-9016-BA981490CD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0" r="23520"/>
          <a:stretch/>
        </p:blipFill>
        <p:spPr bwMode="auto">
          <a:xfrm>
            <a:off x="9361520" y="3743094"/>
            <a:ext cx="550363" cy="780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4" name="Connector: Elbow 133">
            <a:extLst>
              <a:ext uri="{FF2B5EF4-FFF2-40B4-BE49-F238E27FC236}">
                <a16:creationId xmlns:a16="http://schemas.microsoft.com/office/drawing/2014/main" id="{CC936D23-D0F1-40CB-A868-638113284D90}"/>
              </a:ext>
            </a:extLst>
          </p:cNvPr>
          <p:cNvCxnSpPr>
            <a:cxnSpLocks/>
            <a:stCxn id="51" idx="3"/>
            <a:endCxn id="8" idx="1"/>
          </p:cNvCxnSpPr>
          <p:nvPr/>
        </p:nvCxnSpPr>
        <p:spPr>
          <a:xfrm flipV="1">
            <a:off x="7501858" y="1391981"/>
            <a:ext cx="859060" cy="1081163"/>
          </a:xfrm>
          <a:prstGeom prst="bentConnector3">
            <a:avLst>
              <a:gd name="adj1" fmla="val 58870"/>
            </a:avLst>
          </a:prstGeom>
          <a:ln w="38100">
            <a:solidFill>
              <a:schemeClr val="accent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" name="TextBox 193">
            <a:extLst>
              <a:ext uri="{FF2B5EF4-FFF2-40B4-BE49-F238E27FC236}">
                <a16:creationId xmlns:a16="http://schemas.microsoft.com/office/drawing/2014/main" id="{AB3976B9-A0CC-4C8E-94FD-76866F634AE3}"/>
              </a:ext>
            </a:extLst>
          </p:cNvPr>
          <p:cNvSpPr txBox="1"/>
          <p:nvPr/>
        </p:nvSpPr>
        <p:spPr>
          <a:xfrm>
            <a:off x="3490541" y="4042281"/>
            <a:ext cx="1919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/>
              <a:t>Model Store</a:t>
            </a:r>
          </a:p>
        </p:txBody>
      </p:sp>
      <p:pic>
        <p:nvPicPr>
          <p:cNvPr id="173" name="Picture 172">
            <a:extLst>
              <a:ext uri="{FF2B5EF4-FFF2-40B4-BE49-F238E27FC236}">
                <a16:creationId xmlns:a16="http://schemas.microsoft.com/office/drawing/2014/main" id="{AA9EDBB8-EA96-460A-B3C4-C33FFCBD9026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512170" y="3750969"/>
            <a:ext cx="733358" cy="753332"/>
          </a:xfrm>
          <a:prstGeom prst="rect">
            <a:avLst/>
          </a:prstGeom>
        </p:spPr>
      </p:pic>
      <p:cxnSp>
        <p:nvCxnSpPr>
          <p:cNvPr id="176" name="Connector: Elbow 175">
            <a:extLst>
              <a:ext uri="{FF2B5EF4-FFF2-40B4-BE49-F238E27FC236}">
                <a16:creationId xmlns:a16="http://schemas.microsoft.com/office/drawing/2014/main" id="{DB37A010-5D20-44E3-BB10-63CB44AD521F}"/>
              </a:ext>
            </a:extLst>
          </p:cNvPr>
          <p:cNvCxnSpPr>
            <a:cxnSpLocks/>
            <a:stCxn id="51" idx="3"/>
            <a:endCxn id="173" idx="1"/>
          </p:cNvCxnSpPr>
          <p:nvPr/>
        </p:nvCxnSpPr>
        <p:spPr>
          <a:xfrm>
            <a:off x="7501858" y="2473144"/>
            <a:ext cx="1010312" cy="1654491"/>
          </a:xfrm>
          <a:prstGeom prst="bentConnector3">
            <a:avLst>
              <a:gd name="adj1" fmla="val 50000"/>
            </a:avLst>
          </a:prstGeom>
          <a:ln w="38100">
            <a:solidFill>
              <a:srgbClr val="7030A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Connector: Elbow 177">
            <a:extLst>
              <a:ext uri="{FF2B5EF4-FFF2-40B4-BE49-F238E27FC236}">
                <a16:creationId xmlns:a16="http://schemas.microsoft.com/office/drawing/2014/main" id="{188F7958-69C5-407A-9782-BCD7BC066BA3}"/>
              </a:ext>
            </a:extLst>
          </p:cNvPr>
          <p:cNvCxnSpPr>
            <a:cxnSpLocks/>
            <a:stCxn id="3076" idx="3"/>
            <a:endCxn id="51" idx="1"/>
          </p:cNvCxnSpPr>
          <p:nvPr/>
        </p:nvCxnSpPr>
        <p:spPr>
          <a:xfrm>
            <a:off x="4190839" y="1956713"/>
            <a:ext cx="1961623" cy="516431"/>
          </a:xfrm>
          <a:prstGeom prst="bentConnector3">
            <a:avLst>
              <a:gd name="adj1" fmla="val 50000"/>
            </a:avLst>
          </a:prstGeom>
          <a:ln w="38100">
            <a:solidFill>
              <a:srgbClr val="7030A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Connector: Elbow 179">
            <a:extLst>
              <a:ext uri="{FF2B5EF4-FFF2-40B4-BE49-F238E27FC236}">
                <a16:creationId xmlns:a16="http://schemas.microsoft.com/office/drawing/2014/main" id="{CDB518FD-97DD-4CDB-A2BA-CF8888EB06A8}"/>
              </a:ext>
            </a:extLst>
          </p:cNvPr>
          <p:cNvCxnSpPr>
            <a:cxnSpLocks/>
            <a:stCxn id="79" idx="3"/>
            <a:endCxn id="194" idx="2"/>
          </p:cNvCxnSpPr>
          <p:nvPr/>
        </p:nvCxnSpPr>
        <p:spPr>
          <a:xfrm flipV="1">
            <a:off x="3380510" y="4350058"/>
            <a:ext cx="1069604" cy="663386"/>
          </a:xfrm>
          <a:prstGeom prst="bentConnector2">
            <a:avLst/>
          </a:prstGeom>
          <a:ln w="38100">
            <a:solidFill>
              <a:srgbClr val="00B0F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Straight Arrow Connector 197">
            <a:extLst>
              <a:ext uri="{FF2B5EF4-FFF2-40B4-BE49-F238E27FC236}">
                <a16:creationId xmlns:a16="http://schemas.microsoft.com/office/drawing/2014/main" id="{EB1F6DA4-F84C-4403-9216-EB7A06F521A7}"/>
              </a:ext>
            </a:extLst>
          </p:cNvPr>
          <p:cNvCxnSpPr>
            <a:cxnSpLocks/>
            <a:stCxn id="173" idx="3"/>
            <a:endCxn id="3102" idx="1"/>
          </p:cNvCxnSpPr>
          <p:nvPr/>
        </p:nvCxnSpPr>
        <p:spPr>
          <a:xfrm>
            <a:off x="9245528" y="4127635"/>
            <a:ext cx="115992" cy="5604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Connector: Elbow 205">
            <a:extLst>
              <a:ext uri="{FF2B5EF4-FFF2-40B4-BE49-F238E27FC236}">
                <a16:creationId xmlns:a16="http://schemas.microsoft.com/office/drawing/2014/main" id="{F36345AB-21F0-44C4-BA2F-391BEC90C849}"/>
              </a:ext>
            </a:extLst>
          </p:cNvPr>
          <p:cNvCxnSpPr>
            <a:cxnSpLocks/>
            <a:stCxn id="8" idx="3"/>
            <a:endCxn id="21" idx="1"/>
          </p:cNvCxnSpPr>
          <p:nvPr/>
        </p:nvCxnSpPr>
        <p:spPr>
          <a:xfrm>
            <a:off x="9173659" y="1391981"/>
            <a:ext cx="151748" cy="479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6" name="Picture 215">
            <a:extLst>
              <a:ext uri="{FF2B5EF4-FFF2-40B4-BE49-F238E27FC236}">
                <a16:creationId xmlns:a16="http://schemas.microsoft.com/office/drawing/2014/main" id="{A4648B2E-6650-410E-818D-42E10003B90F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540784" y="3277179"/>
            <a:ext cx="1214686" cy="9642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74A78172-1A03-401C-8C45-2F325DFB2667}"/>
              </a:ext>
            </a:extLst>
          </p:cNvPr>
          <p:cNvCxnSpPr>
            <a:cxnSpLocks/>
            <a:stCxn id="216" idx="3"/>
            <a:endCxn id="100" idx="3"/>
          </p:cNvCxnSpPr>
          <p:nvPr/>
        </p:nvCxnSpPr>
        <p:spPr>
          <a:xfrm flipH="1">
            <a:off x="7905582" y="3759297"/>
            <a:ext cx="3849888" cy="2243694"/>
          </a:xfrm>
          <a:prstGeom prst="bentConnector3">
            <a:avLst>
              <a:gd name="adj1" fmla="val -5938"/>
            </a:avLst>
          </a:prstGeom>
          <a:ln w="38100">
            <a:solidFill>
              <a:srgbClr val="00B050"/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2F1DFE3D-5192-44FA-9623-3E70550C3F05}"/>
              </a:ext>
            </a:extLst>
          </p:cNvPr>
          <p:cNvCxnSpPr>
            <a:cxnSpLocks/>
            <a:stCxn id="100" idx="1"/>
            <a:endCxn id="183" idx="2"/>
          </p:cNvCxnSpPr>
          <p:nvPr/>
        </p:nvCxnSpPr>
        <p:spPr>
          <a:xfrm rot="10800000">
            <a:off x="4387477" y="5200251"/>
            <a:ext cx="624680" cy="802741"/>
          </a:xfrm>
          <a:prstGeom prst="bentConnector2">
            <a:avLst/>
          </a:prstGeom>
          <a:ln w="38100">
            <a:solidFill>
              <a:srgbClr val="00B050"/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51A95288-6A78-4B63-AEEA-DF2F03DE34F4}"/>
              </a:ext>
            </a:extLst>
          </p:cNvPr>
          <p:cNvCxnSpPr>
            <a:cxnSpLocks/>
            <a:stCxn id="149" idx="0"/>
            <a:endCxn id="12" idx="2"/>
          </p:cNvCxnSpPr>
          <p:nvPr/>
        </p:nvCxnSpPr>
        <p:spPr>
          <a:xfrm rot="16200000" flipV="1">
            <a:off x="2255451" y="944885"/>
            <a:ext cx="707181" cy="3720340"/>
          </a:xfrm>
          <a:prstGeom prst="bentConnector3">
            <a:avLst>
              <a:gd name="adj1" fmla="val 50000"/>
            </a:avLst>
          </a:prstGeom>
          <a:ln w="38100">
            <a:solidFill>
              <a:srgbClr val="7030A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77BEC5C5-03C7-4F2F-AC57-5A1C911725B7}"/>
              </a:ext>
            </a:extLst>
          </p:cNvPr>
          <p:cNvSpPr txBox="1"/>
          <p:nvPr/>
        </p:nvSpPr>
        <p:spPr>
          <a:xfrm>
            <a:off x="1391619" y="2672135"/>
            <a:ext cx="1517817" cy="452047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10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ume Mod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C9AC61B-3D0D-489C-A6EB-1B73995017B5}"/>
              </a:ext>
            </a:extLst>
          </p:cNvPr>
          <p:cNvSpPr txBox="1"/>
          <p:nvPr/>
        </p:nvSpPr>
        <p:spPr>
          <a:xfrm>
            <a:off x="12486999" y="1271844"/>
            <a:ext cx="1576313" cy="663258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050" cap="all" err="1">
                <a:solidFill>
                  <a:schemeClr val="bg1"/>
                </a:solidFill>
              </a:rPr>
              <a:t>Cntk</a:t>
            </a:r>
            <a:r>
              <a:rPr lang="en-US" sz="1050" cap="all">
                <a:solidFill>
                  <a:schemeClr val="bg1"/>
                </a:solidFill>
              </a:rPr>
              <a:t>/</a:t>
            </a:r>
            <a:r>
              <a:rPr lang="en-US" sz="1050" cap="all" err="1">
                <a:solidFill>
                  <a:schemeClr val="bg1"/>
                </a:solidFill>
              </a:rPr>
              <a:t>Tf</a:t>
            </a:r>
            <a:r>
              <a:rPr lang="en-US" sz="1050" cap="all">
                <a:solidFill>
                  <a:schemeClr val="bg1"/>
                </a:solidFill>
              </a:rPr>
              <a:t>/</a:t>
            </a:r>
            <a:r>
              <a:rPr lang="en-US" sz="1050" cap="all" err="1">
                <a:solidFill>
                  <a:schemeClr val="bg1"/>
                </a:solidFill>
              </a:rPr>
              <a:t>Scikit</a:t>
            </a:r>
            <a:endParaRPr lang="en-US" sz="1050" cap="all">
              <a:solidFill>
                <a:schemeClr val="bg1"/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050" cap="all" err="1">
                <a:solidFill>
                  <a:schemeClr val="bg1"/>
                </a:solidFill>
              </a:rPr>
              <a:t>Keras</a:t>
            </a:r>
            <a:r>
              <a:rPr lang="en-US" sz="1050" cap="all">
                <a:solidFill>
                  <a:schemeClr val="bg1"/>
                </a:solidFill>
              </a:rPr>
              <a:t>/ …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90F2BC0-EF0A-445F-99D3-926FA3A30A73}"/>
              </a:ext>
            </a:extLst>
          </p:cNvPr>
          <p:cNvPicPr>
            <a:picLocks noChangeAspect="1"/>
          </p:cNvPicPr>
          <p:nvPr/>
        </p:nvPicPr>
        <p:blipFill rotWithShape="1">
          <a:blip r:embed="rId18"/>
          <a:srcRect t="4232" b="6787"/>
          <a:stretch/>
        </p:blipFill>
        <p:spPr>
          <a:xfrm>
            <a:off x="12442091" y="1267444"/>
            <a:ext cx="1653730" cy="66325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cxnSp>
        <p:nvCxnSpPr>
          <p:cNvPr id="111" name="Connector: Elbow 110">
            <a:extLst>
              <a:ext uri="{FF2B5EF4-FFF2-40B4-BE49-F238E27FC236}">
                <a16:creationId xmlns:a16="http://schemas.microsoft.com/office/drawing/2014/main" id="{EE2CE2C9-058D-4654-AA7C-128EF945BD38}"/>
              </a:ext>
            </a:extLst>
          </p:cNvPr>
          <p:cNvCxnSpPr>
            <a:cxnSpLocks/>
            <a:stCxn id="51" idx="3"/>
            <a:endCxn id="26" idx="1"/>
          </p:cNvCxnSpPr>
          <p:nvPr/>
        </p:nvCxnSpPr>
        <p:spPr>
          <a:xfrm>
            <a:off x="7501858" y="2473144"/>
            <a:ext cx="1624988" cy="356516"/>
          </a:xfrm>
          <a:prstGeom prst="bentConnector3">
            <a:avLst>
              <a:gd name="adj1" fmla="val 30882"/>
            </a:avLst>
          </a:prstGeom>
          <a:ln w="38100">
            <a:solidFill>
              <a:srgbClr val="7030A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Connector: Elbow 165">
            <a:extLst>
              <a:ext uri="{FF2B5EF4-FFF2-40B4-BE49-F238E27FC236}">
                <a16:creationId xmlns:a16="http://schemas.microsoft.com/office/drawing/2014/main" id="{9F2A1105-3A4D-4D27-AF21-20D4144156E3}"/>
              </a:ext>
            </a:extLst>
          </p:cNvPr>
          <p:cNvCxnSpPr>
            <a:cxnSpLocks/>
            <a:stCxn id="149" idx="3"/>
            <a:endCxn id="51" idx="2"/>
          </p:cNvCxnSpPr>
          <p:nvPr/>
        </p:nvCxnSpPr>
        <p:spPr>
          <a:xfrm flipV="1">
            <a:off x="5383244" y="3110034"/>
            <a:ext cx="1443916" cy="480068"/>
          </a:xfrm>
          <a:prstGeom prst="bentConnector2">
            <a:avLst/>
          </a:prstGeom>
          <a:ln w="38100">
            <a:solidFill>
              <a:srgbClr val="00B0F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6114733" y="2255554"/>
            <a:ext cx="125562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>
                <a:latin typeface="Courier New" panose="02070309020205020404" pitchFamily="49" charset="0"/>
                <a:cs typeface="Courier New" panose="02070309020205020404" pitchFamily="49" charset="0"/>
              </a:rPr>
              <a:t>DevOps Pipeline</a:t>
            </a:r>
          </a:p>
        </p:txBody>
      </p:sp>
      <p:cxnSp>
        <p:nvCxnSpPr>
          <p:cNvPr id="162" name="Connector: Elbow 161">
            <a:extLst>
              <a:ext uri="{FF2B5EF4-FFF2-40B4-BE49-F238E27FC236}">
                <a16:creationId xmlns:a16="http://schemas.microsoft.com/office/drawing/2014/main" id="{2D05999D-A5FF-47BF-B0F9-6868828DB29B}"/>
              </a:ext>
            </a:extLst>
          </p:cNvPr>
          <p:cNvCxnSpPr>
            <a:cxnSpLocks/>
            <a:stCxn id="149" idx="1"/>
            <a:endCxn id="35" idx="0"/>
          </p:cNvCxnSpPr>
          <p:nvPr/>
        </p:nvCxnSpPr>
        <p:spPr>
          <a:xfrm rot="10800000" flipV="1">
            <a:off x="728447" y="3590101"/>
            <a:ext cx="2826730" cy="937803"/>
          </a:xfrm>
          <a:prstGeom prst="bentConnector2">
            <a:avLst/>
          </a:prstGeom>
          <a:ln w="38100">
            <a:solidFill>
              <a:srgbClr val="00B0F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841E6AC7-55A8-42CC-BE9C-D36269E1B86F}"/>
              </a:ext>
            </a:extLst>
          </p:cNvPr>
          <p:cNvSpPr txBox="1"/>
          <p:nvPr/>
        </p:nvSpPr>
        <p:spPr>
          <a:xfrm>
            <a:off x="1232646" y="3439893"/>
            <a:ext cx="1751638" cy="466281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10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ustomize Model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42F337C3-32F8-4C0A-B3F6-0E564C5B67F1}"/>
              </a:ext>
            </a:extLst>
          </p:cNvPr>
          <p:cNvSpPr txBox="1"/>
          <p:nvPr/>
        </p:nvSpPr>
        <p:spPr>
          <a:xfrm>
            <a:off x="5772510" y="3350068"/>
            <a:ext cx="1517817" cy="452047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10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ploy Model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8BAD8804-BB16-4758-BB82-558869560AD4}"/>
              </a:ext>
            </a:extLst>
          </p:cNvPr>
          <p:cNvSpPr txBox="1"/>
          <p:nvPr/>
        </p:nvSpPr>
        <p:spPr>
          <a:xfrm>
            <a:off x="10574480" y="4357531"/>
            <a:ext cx="1061957" cy="452047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10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dict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C0FC9A45-BC7C-442D-B6C8-696C84A15493}"/>
              </a:ext>
            </a:extLst>
          </p:cNvPr>
          <p:cNvSpPr txBox="1"/>
          <p:nvPr/>
        </p:nvSpPr>
        <p:spPr>
          <a:xfrm rot="5400000">
            <a:off x="7063486" y="2387785"/>
            <a:ext cx="1921979" cy="604396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10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e &amp; Flight </a:t>
            </a:r>
            <a:r>
              <a:rPr lang="en-US" sz="1100" b="1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del + App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BFAC2114-584C-4F9C-A037-40EA12F06D37}"/>
              </a:ext>
            </a:extLst>
          </p:cNvPr>
          <p:cNvSpPr txBox="1"/>
          <p:nvPr/>
        </p:nvSpPr>
        <p:spPr>
          <a:xfrm>
            <a:off x="2697214" y="926460"/>
            <a:ext cx="1288245" cy="590354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05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pdate Application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FE80C53D-BA2B-448E-A47F-000CC2D316A6}"/>
              </a:ext>
            </a:extLst>
          </p:cNvPr>
          <p:cNvSpPr txBox="1"/>
          <p:nvPr/>
        </p:nvSpPr>
        <p:spPr>
          <a:xfrm>
            <a:off x="3628568" y="4748203"/>
            <a:ext cx="1517817" cy="452047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10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ublish Model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ED9ECCAE-DC4B-42B5-B969-7E57C1680B84}"/>
              </a:ext>
            </a:extLst>
          </p:cNvPr>
          <p:cNvSpPr txBox="1"/>
          <p:nvPr/>
        </p:nvSpPr>
        <p:spPr>
          <a:xfrm>
            <a:off x="10243106" y="5765059"/>
            <a:ext cx="1517817" cy="604396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10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llect Feedback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11D48176-625D-41F6-881F-CDC6366CA1E1}"/>
              </a:ext>
            </a:extLst>
          </p:cNvPr>
          <p:cNvSpPr txBox="1"/>
          <p:nvPr/>
        </p:nvSpPr>
        <p:spPr>
          <a:xfrm>
            <a:off x="4450114" y="1728991"/>
            <a:ext cx="1288245" cy="590354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05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ploy Application</a:t>
            </a:r>
          </a:p>
        </p:txBody>
      </p:sp>
      <p:pic>
        <p:nvPicPr>
          <p:cNvPr id="144" name="Picture 143">
            <a:extLst>
              <a:ext uri="{FF2B5EF4-FFF2-40B4-BE49-F238E27FC236}">
                <a16:creationId xmlns:a16="http://schemas.microsoft.com/office/drawing/2014/main" id="{53FC0817-6CA0-48EA-81F5-D72B0DB0472B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2702217" y="2310228"/>
            <a:ext cx="1267288" cy="946890"/>
          </a:xfrm>
          <a:prstGeom prst="rect">
            <a:avLst/>
          </a:prstGeom>
        </p:spPr>
      </p:pic>
      <p:sp>
        <p:nvSpPr>
          <p:cNvPr id="1034" name="Cylinder 1033">
            <a:extLst>
              <a:ext uri="{FF2B5EF4-FFF2-40B4-BE49-F238E27FC236}">
                <a16:creationId xmlns:a16="http://schemas.microsoft.com/office/drawing/2014/main" id="{4BE0CEC1-B541-4AF5-81C8-0424FAF77157}"/>
              </a:ext>
            </a:extLst>
          </p:cNvPr>
          <p:cNvSpPr/>
          <p:nvPr/>
        </p:nvSpPr>
        <p:spPr>
          <a:xfrm>
            <a:off x="8749374" y="5726596"/>
            <a:ext cx="1106274" cy="658097"/>
          </a:xfrm>
          <a:prstGeom prst="can">
            <a:avLst>
              <a:gd name="adj" fmla="val 1340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/>
              <a:t>Model Telemetry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07F4B86-F0ED-489C-9342-F5890CDEE6D7}"/>
              </a:ext>
            </a:extLst>
          </p:cNvPr>
          <p:cNvSpPr txBox="1"/>
          <p:nvPr/>
        </p:nvSpPr>
        <p:spPr>
          <a:xfrm>
            <a:off x="5012157" y="5769850"/>
            <a:ext cx="2893425" cy="466281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20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rain Model</a:t>
            </a:r>
          </a:p>
        </p:txBody>
      </p:sp>
      <p:sp>
        <p:nvSpPr>
          <p:cNvPr id="221" name="Title 2">
            <a:extLst>
              <a:ext uri="{FF2B5EF4-FFF2-40B4-BE49-F238E27FC236}">
                <a16:creationId xmlns:a16="http://schemas.microsoft.com/office/drawing/2014/main" id="{1553D49F-095E-4D5E-853A-D7D4D67A2C2E}"/>
              </a:ext>
            </a:extLst>
          </p:cNvPr>
          <p:cNvSpPr txBox="1">
            <a:spLocks/>
          </p:cNvSpPr>
          <p:nvPr/>
        </p:nvSpPr>
        <p:spPr>
          <a:xfrm>
            <a:off x="231968" y="278428"/>
            <a:ext cx="11654187" cy="899537"/>
          </a:xfrm>
          <a:prstGeom prst="rect">
            <a:avLst/>
          </a:prstGeom>
        </p:spPr>
        <p:txBody>
          <a:bodyPr vert="horz" wrap="square" lIns="146284" tIns="91427" rIns="146284" bIns="91427" rtlCol="0" anchor="t">
            <a:noAutofit/>
          </a:bodyPr>
          <a:lstStyle>
            <a:lvl1pPr marL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0" kern="1200" cap="all" spc="800" baseline="0" dirty="0" smtClean="0">
                <a:ln w="3175">
                  <a:noFill/>
                </a:ln>
                <a:solidFill>
                  <a:srgbClr val="0078D7"/>
                </a:solidFill>
                <a:effectLst/>
                <a:latin typeface="+mj-lt"/>
                <a:ea typeface="+mn-ea"/>
                <a:cs typeface="Segoe UI Light" charset="0"/>
              </a:defRPr>
            </a:lvl1pPr>
          </a:lstStyle>
          <a:p>
            <a:pPr defTabSz="913927">
              <a:defRPr/>
            </a:pPr>
            <a:endParaRPr lang="en-US">
              <a:latin typeface="Segoe UI Ligh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0D4996-F5A0-4CFD-AE33-51FAF71ACE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345" y="189963"/>
            <a:ext cx="11018520" cy="553998"/>
          </a:xfrm>
        </p:spPr>
        <p:txBody>
          <a:bodyPr>
            <a:normAutofit/>
          </a:bodyPr>
          <a:lstStyle/>
          <a:p>
            <a:r>
              <a:rPr lang="en-US"/>
              <a:t>ML + App Dev Process</a:t>
            </a:r>
          </a:p>
        </p:txBody>
      </p:sp>
    </p:spTree>
    <p:extLst>
      <p:ext uri="{BB962C8B-B14F-4D97-AF65-F5344CB8AC3E}">
        <p14:creationId xmlns:p14="http://schemas.microsoft.com/office/powerpoint/2010/main" val="24262274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20" grpId="0"/>
      <p:bldP spid="34" grpId="0"/>
      <p:bldP spid="36" grpId="0"/>
      <p:bldP spid="78" grpId="0"/>
      <p:bldP spid="89" grpId="0"/>
      <p:bldP spid="125" grpId="0"/>
      <p:bldP spid="126" grpId="0"/>
      <p:bldP spid="194" grpId="0"/>
      <p:bldP spid="77" grpId="0" animBg="1"/>
      <p:bldP spid="30" grpId="0"/>
      <p:bldP spid="83" grpId="0" animBg="1"/>
      <p:bldP spid="167" grpId="0" animBg="1"/>
      <p:bldP spid="174" grpId="0" animBg="1"/>
      <p:bldP spid="175" grpId="0" animBg="1"/>
      <p:bldP spid="177" grpId="0" animBg="1"/>
      <p:bldP spid="183" grpId="0" animBg="1"/>
      <p:bldP spid="188" grpId="0" animBg="1"/>
      <p:bldP spid="195" grpId="0" animBg="1"/>
      <p:bldP spid="1034" grpId="0" animBg="1"/>
      <p:bldP spid="10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t.GJKZ0gEK3IGHKgaod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5gH9kVU0kuHdBfCqVWh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heme/theme1.xml><?xml version="1.0" encoding="utf-8"?>
<a:theme xmlns:a="http://schemas.openxmlformats.org/drawingml/2006/main" name="5-50083_Machine Learning, Analytics &amp; Data Science Conference Template">
  <a:themeElements>
    <a:clrScheme name="MLADSC">
      <a:dk1>
        <a:srgbClr val="505050"/>
      </a:dk1>
      <a:lt1>
        <a:srgbClr val="FFFFFF"/>
      </a:lt1>
      <a:dk2>
        <a:srgbClr val="A80000"/>
      </a:dk2>
      <a:lt2>
        <a:srgbClr val="E6E6E6"/>
      </a:lt2>
      <a:accent1>
        <a:srgbClr val="A80000"/>
      </a:accent1>
      <a:accent2>
        <a:srgbClr val="080808"/>
      </a:accent2>
      <a:accent3>
        <a:srgbClr val="505050"/>
      </a:accent3>
      <a:accent4>
        <a:srgbClr val="737373"/>
      </a:accent4>
      <a:accent5>
        <a:srgbClr val="D83B01"/>
      </a:accent5>
      <a:accent6>
        <a:srgbClr val="002050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achine_Learning_Analytics_Data_Science_Conference_16x9_Template.potx" id="{63B4DAC7-B0F2-40EF-AFF7-68071D178D56}" vid="{9310A23C-5965-4D6A-A027-4121A80BCA6F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-50201_Microsoft_Ready_Template">
  <a:themeElements>
    <a:clrScheme name="Microsoft Ready + Microsoft Inspir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737373"/>
      </a:accent3>
      <a:accent4>
        <a:srgbClr val="5C2D91"/>
      </a:accent4>
      <a:accent5>
        <a:srgbClr val="BAD80A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Ready_Breakout_Template.potx" id="{5F77714E-CA00-415A-8458-979F19FCEF73}" vid="{82C78859-7BB8-4D41-BFD2-BC7351C3FA4D}"/>
    </a:ext>
  </a:extLst>
</a:theme>
</file>

<file path=ppt/theme/theme4.xml><?xml version="1.0" encoding="utf-8"?>
<a:theme xmlns:a="http://schemas.openxmlformats.org/drawingml/2006/main" name="1_WHITE TEMPLATE">
  <a:themeElements>
    <a:clrScheme name="TT for white - NEW 2018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107C10"/>
      </a:accent3>
      <a:accent4>
        <a:srgbClr val="D73B01"/>
      </a:accent4>
      <a:accent5>
        <a:srgbClr val="737373"/>
      </a:accent5>
      <a:accent6>
        <a:srgbClr val="E6E6E6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020518_Baseline File [square photo].potx" id="{C5D1F236-4B1B-4E57-A29C-AD92A4683BEF}" vid="{04698D39-7FD2-42AF-81C6-B18BB52E45EF}"/>
    </a:ext>
  </a:extLst>
</a:theme>
</file>

<file path=ppt/theme/theme5.xml><?xml version="1.0" encoding="utf-8"?>
<a:theme xmlns:a="http://schemas.openxmlformats.org/drawingml/2006/main" name="3_WHITE TEMPLATE">
  <a:themeElements>
    <a:clrScheme name="TT for white - NEW 2018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107C10"/>
      </a:accent3>
      <a:accent4>
        <a:srgbClr val="D73B01"/>
      </a:accent4>
      <a:accent5>
        <a:srgbClr val="737373"/>
      </a:accent5>
      <a:accent6>
        <a:srgbClr val="E6E6E6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020518_Baseline File [square photo].potx" id="{C5D1F236-4B1B-4E57-A29C-AD92A4683BEF}" vid="{04698D39-7FD2-42AF-81C6-B18BB52E45EF}"/>
    </a:ext>
  </a:extLst>
</a:theme>
</file>

<file path=ppt/theme/theme6.xml><?xml version="1.0" encoding="utf-8"?>
<a:theme xmlns:a="http://schemas.openxmlformats.org/drawingml/2006/main" name="9-51008_Machine_Learning_AI_&amp;_Data_Science_Conference_Fall_2018_Template">
  <a:themeElements>
    <a:clrScheme name="Custom 2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A80000"/>
      </a:accent1>
      <a:accent2>
        <a:srgbClr val="505050"/>
      </a:accent2>
      <a:accent3>
        <a:srgbClr val="737373"/>
      </a:accent3>
      <a:accent4>
        <a:srgbClr val="002050"/>
      </a:accent4>
      <a:accent5>
        <a:srgbClr val="D83B01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</a:spPr>
      <a:bodyPr rot="0" spcFirstLastPara="0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>
        <a:ln>
          <a:solidFill>
            <a:schemeClr val="bg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achine_Learning_AI_Data_Science_Conference_Fall 2018_16x9_Template_v06.potx" id="{593D9A0C-A9C2-4B18-A1AB-7B6B444F7E81}" vid="{631A5D9C-1E8D-47A4-921D-AEDE1899F170}"/>
    </a:ext>
  </a:extLst>
</a:theme>
</file>

<file path=ppt/theme/theme7.xml><?xml version="1.0" encoding="utf-8"?>
<a:theme xmlns:a="http://schemas.openxmlformats.org/drawingml/2006/main" name="MGXFY15">
  <a:themeElements>
    <a:clrScheme name="Custom 41">
      <a:dk1>
        <a:srgbClr val="000000"/>
      </a:dk1>
      <a:lt1>
        <a:srgbClr val="FFFFFF"/>
      </a:lt1>
      <a:dk2>
        <a:srgbClr val="0078D7"/>
      </a:dk2>
      <a:lt2>
        <a:srgbClr val="D2D2D2"/>
      </a:lt2>
      <a:accent1>
        <a:srgbClr val="002050"/>
      </a:accent1>
      <a:accent2>
        <a:srgbClr val="00188F"/>
      </a:accent2>
      <a:accent3>
        <a:srgbClr val="32145A"/>
      </a:accent3>
      <a:accent4>
        <a:srgbClr val="107C10"/>
      </a:accent4>
      <a:accent5>
        <a:srgbClr val="00BCF2"/>
      </a:accent5>
      <a:accent6>
        <a:srgbClr val="FFB900"/>
      </a:accent6>
      <a:hlink>
        <a:srgbClr val="00BCF2"/>
      </a:hlink>
      <a:folHlink>
        <a:srgbClr val="002050"/>
      </a:folHlink>
    </a:clrScheme>
    <a:fontScheme name="Segoe UI L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ES243BK-R1_Edson" id="{7FA50A56-66DF-4957-B093-DDBFDD24F612}" vid="{2F29F2AE-BCF6-4017-BA1B-18B93B53653C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A50CA72FA5E3B4BAC644C551D5261E1" ma:contentTypeVersion="15" ma:contentTypeDescription="Create a new document." ma:contentTypeScope="" ma:versionID="860b098bfd0a97773f41e884b08b9000">
  <xsd:schema xmlns:xsd="http://www.w3.org/2001/XMLSchema" xmlns:xs="http://www.w3.org/2001/XMLSchema" xmlns:p="http://schemas.microsoft.com/office/2006/metadata/properties" xmlns:ns1="http://schemas.microsoft.com/sharepoint/v3" xmlns:ns2="3737ba99-4bf9-4c34-88b8-9869613277df" xmlns:ns3="73ca0715-0375-4521-9ead-332664f46b87" targetNamespace="http://schemas.microsoft.com/office/2006/metadata/properties" ma:root="true" ma:fieldsID="f089c865decaa61e6a679f24357fc1e9" ns1:_="" ns2:_="" ns3:_="">
    <xsd:import namespace="http://schemas.microsoft.com/sharepoint/v3"/>
    <xsd:import namespace="3737ba99-4bf9-4c34-88b8-9869613277df"/>
    <xsd:import namespace="73ca0715-0375-4521-9ead-332664f46b8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EventHashCode" minOccurs="0"/>
                <xsd:element ref="ns2:MediaServiceGenerationTime" minOccurs="0"/>
                <xsd:element ref="ns2:MediaServiceAutoKeyPoints" minOccurs="0"/>
                <xsd:element ref="ns2:MediaServiceKeyPoints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1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2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37ba99-4bf9-4c34-88b8-9869613277d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ca0715-0375-4521-9ead-332664f46b8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2" nillable="true" ma:displayName="Last Shared By User" ma:hidden="true" ma:internalName="LastSharedByUser" ma:readOnly="true">
      <xsd:simpleType>
        <xsd:restriction base="dms:Note"/>
      </xsd:simpleType>
    </xsd:element>
    <xsd:element name="LastSharedByTime" ma:index="13" nillable="true" ma:displayName="Last Shared By Time" ma:hidden="true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3ca0715-0375-4521-9ead-332664f46b87">
      <UserInfo>
        <DisplayName>Michael Vulcan</DisplayName>
        <AccountId>474</AccountId>
        <AccountType/>
      </UserInfo>
      <UserInfo>
        <DisplayName>Matt Sinclair</DisplayName>
        <AccountId>462</AccountId>
        <AccountType/>
      </UserInfo>
      <UserInfo>
        <DisplayName>Noor Virk</DisplayName>
        <AccountId>23742</AccountId>
        <AccountType/>
      </UserInfo>
      <UserInfo>
        <DisplayName>Vaishali Chawan</DisplayName>
        <AccountId>1465</AccountId>
        <AccountType/>
      </UserInfo>
      <UserInfo>
        <DisplayName>Peter Wihman</DisplayName>
        <AccountId>2891</AccountId>
        <AccountType/>
      </UserInfo>
      <UserInfo>
        <DisplayName>Samuel Denton-Giles</DisplayName>
        <AccountId>28</AccountId>
        <AccountType/>
      </UserInfo>
      <UserInfo>
        <DisplayName>Hany Azzam</DisplayName>
        <AccountId>1761</AccountId>
        <AccountType/>
      </UserInfo>
      <UserInfo>
        <DisplayName>Joao Bilhim</DisplayName>
        <AccountId>13057</AccountId>
        <AccountType/>
      </UserInfo>
      <UserInfo>
        <DisplayName>Julian Lee</DisplayName>
        <AccountId>2369</AccountId>
        <AccountType/>
      </UserInfo>
      <UserInfo>
        <DisplayName>Maya Dillon</DisplayName>
        <AccountId>6640</AccountId>
        <AccountType/>
      </UserInfo>
      <UserInfo>
        <DisplayName>Alessio Bagnaresi</DisplayName>
        <AccountId>115</AccountId>
        <AccountType/>
      </UserInfo>
      <UserInfo>
        <DisplayName>Anna Fear</DisplayName>
        <AccountId>30341</AccountId>
        <AccountType/>
      </UserInfo>
      <UserInfo>
        <DisplayName>Eray Ayduran</DisplayName>
        <AccountId>35378</AccountId>
        <AccountType/>
      </UserInfo>
      <UserInfo>
        <DisplayName>Sanjay Chopra</DisplayName>
        <AccountId>29436</AccountId>
        <AccountType/>
      </UserInfo>
    </SharedWithUsers>
    <MediaServiceKeyPoints xmlns="3737ba99-4bf9-4c34-88b8-9869613277df" xsi:nil="true"/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D825F4C6-1847-4646-BB30-5D6B033E06F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68BF1B5-2681-4780-8A42-53EEE138431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737ba99-4bf9-4c34-88b8-9869613277df"/>
    <ds:schemaRef ds:uri="73ca0715-0375-4521-9ead-332664f46b8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AD6A35C-2F15-4553-B772-7B022339D414}">
  <ds:schemaRefs>
    <ds:schemaRef ds:uri="http://schemas.microsoft.com/office/2006/metadata/properties"/>
    <ds:schemaRef ds:uri="http://schemas.microsoft.com/office/infopath/2007/PartnerControls"/>
    <ds:schemaRef ds:uri="73ca0715-0375-4521-9ead-332664f46b87"/>
    <ds:schemaRef ds:uri="3737ba99-4bf9-4c34-88b8-9869613277df"/>
    <ds:schemaRef ds:uri="http://schemas.microsoft.com/sharepoint/v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40</TotalTime>
  <Words>1003</Words>
  <Application>Microsoft Office PowerPoint</Application>
  <PresentationFormat>Widescreen</PresentationFormat>
  <Paragraphs>232</Paragraphs>
  <Slides>20</Slides>
  <Notes>18</Notes>
  <HiddenSlides>1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7</vt:i4>
      </vt:variant>
      <vt:variant>
        <vt:lpstr>Slide Titles</vt:lpstr>
      </vt:variant>
      <vt:variant>
        <vt:i4>20</vt:i4>
      </vt:variant>
    </vt:vector>
  </HeadingPairs>
  <TitlesOfParts>
    <vt:vector size="38" baseType="lpstr">
      <vt:lpstr>Arial</vt:lpstr>
      <vt:lpstr>Calibri</vt:lpstr>
      <vt:lpstr>Calibri Light</vt:lpstr>
      <vt:lpstr>Calibri Light (Headings)</vt:lpstr>
      <vt:lpstr>Consolas</vt:lpstr>
      <vt:lpstr>Courier New</vt:lpstr>
      <vt:lpstr>Segoe UI</vt:lpstr>
      <vt:lpstr>Segoe UI Light</vt:lpstr>
      <vt:lpstr>Segoe UI Semibold</vt:lpstr>
      <vt:lpstr>Segoe UI Semilight</vt:lpstr>
      <vt:lpstr>Wingdings</vt:lpstr>
      <vt:lpstr>5-50083_Machine Learning, Analytics &amp; Data Science Conference Template</vt:lpstr>
      <vt:lpstr>1_Office Theme</vt:lpstr>
      <vt:lpstr>5-50201_Microsoft_Ready_Template</vt:lpstr>
      <vt:lpstr>1_WHITE TEMPLATE</vt:lpstr>
      <vt:lpstr>3_WHITE TEMPLATE</vt:lpstr>
      <vt:lpstr>9-51008_Machine_Learning_AI_&amp;_Data_Science_Conference_Fall_2018_Template</vt:lpstr>
      <vt:lpstr>MGXFY15</vt:lpstr>
      <vt:lpstr>ML Ops – AI Inner Circle</vt:lpstr>
      <vt:lpstr>What is DevOps?</vt:lpstr>
      <vt:lpstr>What does DevOps for AI mean?</vt:lpstr>
      <vt:lpstr>AI DevOps lifecycle</vt:lpstr>
      <vt:lpstr>MLOps Benefits</vt:lpstr>
      <vt:lpstr>Why adopt DevOps for AI? </vt:lpstr>
      <vt:lpstr>Technical debt &amp; collateral in ML systems</vt:lpstr>
      <vt:lpstr>Putting it all together…</vt:lpstr>
      <vt:lpstr>ML + App Dev Process</vt:lpstr>
      <vt:lpstr>PowerPoint Presentation</vt:lpstr>
      <vt:lpstr>Azure Machine Learning service</vt:lpstr>
      <vt:lpstr>Azure ML service</vt:lpstr>
      <vt:lpstr>PowerPoint Presentation</vt:lpstr>
      <vt:lpstr>DEMO</vt:lpstr>
      <vt:lpstr>Model Deployment on Azure</vt:lpstr>
      <vt:lpstr>Azure DevOps Pipelines</vt:lpstr>
      <vt:lpstr>Azure DevOps + Azure ML </vt:lpstr>
      <vt:lpstr>Machine Learning on Azure</vt:lpstr>
      <vt:lpstr>References</vt:lpstr>
      <vt:lpstr>Feedback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hew Salvaris</dc:creator>
  <cp:lastModifiedBy>Jason Virtue</cp:lastModifiedBy>
  <cp:revision>12</cp:revision>
  <dcterms:created xsi:type="dcterms:W3CDTF">2018-07-20T09:04:23Z</dcterms:created>
  <dcterms:modified xsi:type="dcterms:W3CDTF">2019-11-12T13:18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masalvar@microsoft.com</vt:lpwstr>
  </property>
  <property fmtid="{D5CDD505-2E9C-101B-9397-08002B2CF9AE}" pid="5" name="MSIP_Label_f42aa342-8706-4288-bd11-ebb85995028c_SetDate">
    <vt:lpwstr>2018-07-20T09:55:29.6455444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Extended_MSFT_Method">
    <vt:lpwstr>Automatic</vt:lpwstr>
  </property>
  <property fmtid="{D5CDD505-2E9C-101B-9397-08002B2CF9AE}" pid="9" name="Sensitivity">
    <vt:lpwstr>General</vt:lpwstr>
  </property>
  <property fmtid="{D5CDD505-2E9C-101B-9397-08002B2CF9AE}" pid="10" name="ContentTypeId">
    <vt:lpwstr>0x0101007A50CA72FA5E3B4BAC644C551D5261E1</vt:lpwstr>
  </property>
  <property fmtid="{D5CDD505-2E9C-101B-9397-08002B2CF9AE}" pid="11" name="AuthorIds_UIVersion_12288">
    <vt:lpwstr>4198</vt:lpwstr>
  </property>
  <property fmtid="{D5CDD505-2E9C-101B-9397-08002B2CF9AE}" pid="12" name="AuthorIds_UIVersion_22016">
    <vt:lpwstr>4198</vt:lpwstr>
  </property>
  <property fmtid="{D5CDD505-2E9C-101B-9397-08002B2CF9AE}" pid="13" name="AuthorIds_UIVersion_26112">
    <vt:lpwstr>4198</vt:lpwstr>
  </property>
  <property fmtid="{D5CDD505-2E9C-101B-9397-08002B2CF9AE}" pid="14" name="AuthorIds_UIVersion_31232">
    <vt:lpwstr>4198</vt:lpwstr>
  </property>
  <property fmtid="{D5CDD505-2E9C-101B-9397-08002B2CF9AE}" pid="15" name="AuthorIds_UIVersion_32256">
    <vt:lpwstr>4198</vt:lpwstr>
  </property>
  <property fmtid="{D5CDD505-2E9C-101B-9397-08002B2CF9AE}" pid="16" name="AuthorIds_UIVersion_33280">
    <vt:lpwstr>474,4198</vt:lpwstr>
  </property>
  <property fmtid="{D5CDD505-2E9C-101B-9397-08002B2CF9AE}" pid="17" name="AuthorIds_UIVersion_44032">
    <vt:lpwstr>4198</vt:lpwstr>
  </property>
  <property fmtid="{D5CDD505-2E9C-101B-9397-08002B2CF9AE}" pid="18" name="AuthorIds_UIVersion_512">
    <vt:lpwstr>6</vt:lpwstr>
  </property>
</Properties>
</file>